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27" r:id="rId2"/>
    <p:sldMasterId id="2147483739" r:id="rId3"/>
  </p:sldMasterIdLst>
  <p:notesMasterIdLst>
    <p:notesMasterId r:id="rId314"/>
  </p:notesMasterIdLst>
  <p:handoutMasterIdLst>
    <p:handoutMasterId r:id="rId315"/>
  </p:handoutMasterIdLst>
  <p:sldIdLst>
    <p:sldId id="343" r:id="rId4"/>
    <p:sldId id="325" r:id="rId5"/>
    <p:sldId id="327" r:id="rId6"/>
    <p:sldId id="10470" r:id="rId7"/>
    <p:sldId id="371" r:id="rId8"/>
    <p:sldId id="328" r:id="rId9"/>
    <p:sldId id="10525" r:id="rId10"/>
    <p:sldId id="511" r:id="rId11"/>
    <p:sldId id="10522" r:id="rId12"/>
    <p:sldId id="10585" r:id="rId13"/>
    <p:sldId id="10471" r:id="rId14"/>
    <p:sldId id="10412" r:id="rId15"/>
    <p:sldId id="602" r:id="rId16"/>
    <p:sldId id="10413" r:id="rId17"/>
    <p:sldId id="369" r:id="rId18"/>
    <p:sldId id="266" r:id="rId19"/>
    <p:sldId id="594" r:id="rId20"/>
    <p:sldId id="10401" r:id="rId21"/>
    <p:sldId id="937" r:id="rId22"/>
    <p:sldId id="10414" r:id="rId23"/>
    <p:sldId id="963" r:id="rId24"/>
    <p:sldId id="324" r:id="rId25"/>
    <p:sldId id="10415" r:id="rId26"/>
    <p:sldId id="10416" r:id="rId27"/>
    <p:sldId id="2829" r:id="rId28"/>
    <p:sldId id="10523" r:id="rId29"/>
    <p:sldId id="938" r:id="rId30"/>
    <p:sldId id="947" r:id="rId31"/>
    <p:sldId id="10526" r:id="rId32"/>
    <p:sldId id="10524" r:id="rId33"/>
    <p:sldId id="340" r:id="rId34"/>
    <p:sldId id="609" r:id="rId35"/>
    <p:sldId id="966" r:id="rId36"/>
    <p:sldId id="967" r:id="rId37"/>
    <p:sldId id="971" r:id="rId38"/>
    <p:sldId id="972" r:id="rId39"/>
    <p:sldId id="973" r:id="rId40"/>
    <p:sldId id="974" r:id="rId41"/>
    <p:sldId id="975" r:id="rId42"/>
    <p:sldId id="10527" r:id="rId43"/>
    <p:sldId id="980" r:id="rId44"/>
    <p:sldId id="968" r:id="rId45"/>
    <p:sldId id="10531" r:id="rId46"/>
    <p:sldId id="10532" r:id="rId47"/>
    <p:sldId id="10528" r:id="rId48"/>
    <p:sldId id="10529" r:id="rId49"/>
    <p:sldId id="10530" r:id="rId50"/>
    <p:sldId id="10533" r:id="rId51"/>
    <p:sldId id="976" r:id="rId52"/>
    <p:sldId id="10472" r:id="rId53"/>
    <p:sldId id="1003" r:id="rId54"/>
    <p:sldId id="611" r:id="rId55"/>
    <p:sldId id="948" r:id="rId56"/>
    <p:sldId id="612" r:id="rId57"/>
    <p:sldId id="613" r:id="rId58"/>
    <p:sldId id="614" r:id="rId59"/>
    <p:sldId id="616" r:id="rId60"/>
    <p:sldId id="949" r:id="rId61"/>
    <p:sldId id="950" r:id="rId62"/>
    <p:sldId id="951" r:id="rId63"/>
    <p:sldId id="952" r:id="rId64"/>
    <p:sldId id="955" r:id="rId65"/>
    <p:sldId id="953" r:id="rId66"/>
    <p:sldId id="1012" r:id="rId67"/>
    <p:sldId id="1016" r:id="rId68"/>
    <p:sldId id="1013" r:id="rId69"/>
    <p:sldId id="1014" r:id="rId70"/>
    <p:sldId id="1015" r:id="rId71"/>
    <p:sldId id="1018" r:id="rId72"/>
    <p:sldId id="1043" r:id="rId73"/>
    <p:sldId id="1019" r:id="rId74"/>
    <p:sldId id="1071" r:id="rId75"/>
    <p:sldId id="1036" r:id="rId76"/>
    <p:sldId id="1037" r:id="rId77"/>
    <p:sldId id="1038" r:id="rId78"/>
    <p:sldId id="1040" r:id="rId79"/>
    <p:sldId id="1020" r:id="rId80"/>
    <p:sldId id="1021" r:id="rId81"/>
    <p:sldId id="1022" r:id="rId82"/>
    <p:sldId id="1023" r:id="rId83"/>
    <p:sldId id="1024" r:id="rId84"/>
    <p:sldId id="1025" r:id="rId85"/>
    <p:sldId id="1026" r:id="rId86"/>
    <p:sldId id="1027" r:id="rId87"/>
    <p:sldId id="1030" r:id="rId88"/>
    <p:sldId id="1031" r:id="rId89"/>
    <p:sldId id="1044" r:id="rId90"/>
    <p:sldId id="1042" r:id="rId91"/>
    <p:sldId id="1039" r:id="rId92"/>
    <p:sldId id="1032" r:id="rId93"/>
    <p:sldId id="1033" r:id="rId94"/>
    <p:sldId id="1034" r:id="rId95"/>
    <p:sldId id="1045" r:id="rId96"/>
    <p:sldId id="1035" r:id="rId97"/>
    <p:sldId id="1046" r:id="rId98"/>
    <p:sldId id="1047" r:id="rId99"/>
    <p:sldId id="1028" r:id="rId100"/>
    <p:sldId id="1048" r:id="rId101"/>
    <p:sldId id="1049" r:id="rId102"/>
    <p:sldId id="1050" r:id="rId103"/>
    <p:sldId id="1051" r:id="rId104"/>
    <p:sldId id="1052" r:id="rId105"/>
    <p:sldId id="1029" r:id="rId106"/>
    <p:sldId id="1053" r:id="rId107"/>
    <p:sldId id="1054" r:id="rId108"/>
    <p:sldId id="1055" r:id="rId109"/>
    <p:sldId id="1056" r:id="rId110"/>
    <p:sldId id="1057" r:id="rId111"/>
    <p:sldId id="1072" r:id="rId112"/>
    <p:sldId id="1060" r:id="rId113"/>
    <p:sldId id="1062" r:id="rId114"/>
    <p:sldId id="1064" r:id="rId115"/>
    <p:sldId id="1061" r:id="rId116"/>
    <p:sldId id="1065" r:id="rId117"/>
    <p:sldId id="1066" r:id="rId118"/>
    <p:sldId id="1070" r:id="rId119"/>
    <p:sldId id="1067" r:id="rId120"/>
    <p:sldId id="1068" r:id="rId121"/>
    <p:sldId id="1069" r:id="rId122"/>
    <p:sldId id="1058" r:id="rId123"/>
    <p:sldId id="1073" r:id="rId124"/>
    <p:sldId id="1059" r:id="rId125"/>
    <p:sldId id="1074" r:id="rId126"/>
    <p:sldId id="1075" r:id="rId127"/>
    <p:sldId id="1078" r:id="rId128"/>
    <p:sldId id="1079" r:id="rId129"/>
    <p:sldId id="1080" r:id="rId130"/>
    <p:sldId id="10473" r:id="rId131"/>
    <p:sldId id="1081" r:id="rId132"/>
    <p:sldId id="1076" r:id="rId133"/>
    <p:sldId id="1077" r:id="rId134"/>
    <p:sldId id="1082" r:id="rId135"/>
    <p:sldId id="1083" r:id="rId136"/>
    <p:sldId id="1084" r:id="rId137"/>
    <p:sldId id="1085" r:id="rId138"/>
    <p:sldId id="1088" r:id="rId139"/>
    <p:sldId id="1089" r:id="rId140"/>
    <p:sldId id="10536" r:id="rId141"/>
    <p:sldId id="1090" r:id="rId142"/>
    <p:sldId id="1091" r:id="rId143"/>
    <p:sldId id="10537" r:id="rId144"/>
    <p:sldId id="1087" r:id="rId145"/>
    <p:sldId id="1086" r:id="rId146"/>
    <p:sldId id="1092" r:id="rId147"/>
    <p:sldId id="1098" r:id="rId148"/>
    <p:sldId id="1093" r:id="rId149"/>
    <p:sldId id="1094" r:id="rId150"/>
    <p:sldId id="1095" r:id="rId151"/>
    <p:sldId id="1096" r:id="rId152"/>
    <p:sldId id="1103" r:id="rId153"/>
    <p:sldId id="1118" r:id="rId154"/>
    <p:sldId id="1097" r:id="rId155"/>
    <p:sldId id="1099" r:id="rId156"/>
    <p:sldId id="1100" r:id="rId157"/>
    <p:sldId id="1104" r:id="rId158"/>
    <p:sldId id="1107" r:id="rId159"/>
    <p:sldId id="1106" r:id="rId160"/>
    <p:sldId id="1108" r:id="rId161"/>
    <p:sldId id="1109" r:id="rId162"/>
    <p:sldId id="1110" r:id="rId163"/>
    <p:sldId id="1111" r:id="rId164"/>
    <p:sldId id="10476" r:id="rId165"/>
    <p:sldId id="1101" r:id="rId166"/>
    <p:sldId id="1102" r:id="rId167"/>
    <p:sldId id="1119" r:id="rId168"/>
    <p:sldId id="665" r:id="rId169"/>
    <p:sldId id="1122" r:id="rId170"/>
    <p:sldId id="1120" r:id="rId171"/>
    <p:sldId id="1121" r:id="rId172"/>
    <p:sldId id="834" r:id="rId173"/>
    <p:sldId id="838" r:id="rId174"/>
    <p:sldId id="839" r:id="rId175"/>
    <p:sldId id="841" r:id="rId176"/>
    <p:sldId id="842" r:id="rId177"/>
    <p:sldId id="843" r:id="rId178"/>
    <p:sldId id="835" r:id="rId179"/>
    <p:sldId id="844" r:id="rId180"/>
    <p:sldId id="836" r:id="rId181"/>
    <p:sldId id="846" r:id="rId182"/>
    <p:sldId id="847" r:id="rId183"/>
    <p:sldId id="868" r:id="rId184"/>
    <p:sldId id="869" r:id="rId185"/>
    <p:sldId id="872" r:id="rId186"/>
    <p:sldId id="870" r:id="rId187"/>
    <p:sldId id="10475" r:id="rId188"/>
    <p:sldId id="1112" r:id="rId189"/>
    <p:sldId id="1114" r:id="rId190"/>
    <p:sldId id="1113" r:id="rId191"/>
    <p:sldId id="1125" r:id="rId192"/>
    <p:sldId id="1129" r:id="rId193"/>
    <p:sldId id="1126" r:id="rId194"/>
    <p:sldId id="1123" r:id="rId195"/>
    <p:sldId id="1124" r:id="rId196"/>
    <p:sldId id="1128" r:id="rId197"/>
    <p:sldId id="1131" r:id="rId198"/>
    <p:sldId id="1127" r:id="rId199"/>
    <p:sldId id="1130" r:id="rId200"/>
    <p:sldId id="1132" r:id="rId201"/>
    <p:sldId id="1133" r:id="rId202"/>
    <p:sldId id="1134" r:id="rId203"/>
    <p:sldId id="10490" r:id="rId204"/>
    <p:sldId id="1115" r:id="rId205"/>
    <p:sldId id="1116" r:id="rId206"/>
    <p:sldId id="1117" r:id="rId207"/>
    <p:sldId id="1105" r:id="rId208"/>
    <p:sldId id="1011" r:id="rId209"/>
    <p:sldId id="10403" r:id="rId210"/>
    <p:sldId id="10404" r:id="rId211"/>
    <p:sldId id="10405" r:id="rId212"/>
    <p:sldId id="10402" r:id="rId213"/>
    <p:sldId id="10407" r:id="rId214"/>
    <p:sldId id="10446" r:id="rId215"/>
    <p:sldId id="10440" r:id="rId216"/>
    <p:sldId id="10441" r:id="rId217"/>
    <p:sldId id="10451" r:id="rId218"/>
    <p:sldId id="10431" r:id="rId219"/>
    <p:sldId id="10452" r:id="rId220"/>
    <p:sldId id="10453" r:id="rId221"/>
    <p:sldId id="10454" r:id="rId222"/>
    <p:sldId id="10455" r:id="rId223"/>
    <p:sldId id="10448" r:id="rId224"/>
    <p:sldId id="10449" r:id="rId225"/>
    <p:sldId id="10450" r:id="rId226"/>
    <p:sldId id="10459" r:id="rId227"/>
    <p:sldId id="10447" r:id="rId228"/>
    <p:sldId id="10406" r:id="rId229"/>
    <p:sldId id="10425" r:id="rId230"/>
    <p:sldId id="10426" r:id="rId231"/>
    <p:sldId id="10409" r:id="rId232"/>
    <p:sldId id="10421" r:id="rId233"/>
    <p:sldId id="10417" r:id="rId234"/>
    <p:sldId id="10408" r:id="rId235"/>
    <p:sldId id="10427" r:id="rId236"/>
    <p:sldId id="10435" r:id="rId237"/>
    <p:sldId id="10437" r:id="rId238"/>
    <p:sldId id="10436" r:id="rId239"/>
    <p:sldId id="10438" r:id="rId240"/>
    <p:sldId id="10439" r:id="rId241"/>
    <p:sldId id="10442" r:id="rId242"/>
    <p:sldId id="10443" r:id="rId243"/>
    <p:sldId id="10444" r:id="rId244"/>
    <p:sldId id="10445" r:id="rId245"/>
    <p:sldId id="10428" r:id="rId246"/>
    <p:sldId id="10429" r:id="rId247"/>
    <p:sldId id="10430" r:id="rId248"/>
    <p:sldId id="10422" r:id="rId249"/>
    <p:sldId id="10423" r:id="rId250"/>
    <p:sldId id="10534" r:id="rId251"/>
    <p:sldId id="10535" r:id="rId252"/>
    <p:sldId id="10545" r:id="rId253"/>
    <p:sldId id="10546" r:id="rId254"/>
    <p:sldId id="10547" r:id="rId255"/>
    <p:sldId id="10548" r:id="rId256"/>
    <p:sldId id="10549" r:id="rId257"/>
    <p:sldId id="10552" r:id="rId258"/>
    <p:sldId id="10553" r:id="rId259"/>
    <p:sldId id="10550" r:id="rId260"/>
    <p:sldId id="10551" r:id="rId261"/>
    <p:sldId id="10554" r:id="rId262"/>
    <p:sldId id="10538" r:id="rId263"/>
    <p:sldId id="10557" r:id="rId264"/>
    <p:sldId id="10558" r:id="rId265"/>
    <p:sldId id="10589" r:id="rId266"/>
    <p:sldId id="10559" r:id="rId267"/>
    <p:sldId id="10556" r:id="rId268"/>
    <p:sldId id="10555" r:id="rId269"/>
    <p:sldId id="10562" r:id="rId270"/>
    <p:sldId id="10566" r:id="rId271"/>
    <p:sldId id="10563" r:id="rId272"/>
    <p:sldId id="10567" r:id="rId273"/>
    <p:sldId id="10564" r:id="rId274"/>
    <p:sldId id="10565" r:id="rId275"/>
    <p:sldId id="10568" r:id="rId276"/>
    <p:sldId id="10579" r:id="rId277"/>
    <p:sldId id="10569" r:id="rId278"/>
    <p:sldId id="10575" r:id="rId279"/>
    <p:sldId id="10541" r:id="rId280"/>
    <p:sldId id="10576" r:id="rId281"/>
    <p:sldId id="10577" r:id="rId282"/>
    <p:sldId id="10578" r:id="rId283"/>
    <p:sldId id="10570" r:id="rId284"/>
    <p:sldId id="10571" r:id="rId285"/>
    <p:sldId id="10572" r:id="rId286"/>
    <p:sldId id="10573" r:id="rId287"/>
    <p:sldId id="10574" r:id="rId288"/>
    <p:sldId id="10540" r:id="rId289"/>
    <p:sldId id="10580" r:id="rId290"/>
    <p:sldId id="10542" r:id="rId291"/>
    <p:sldId id="10543" r:id="rId292"/>
    <p:sldId id="10590" r:id="rId293"/>
    <p:sldId id="10581" r:id="rId294"/>
    <p:sldId id="10582" r:id="rId295"/>
    <p:sldId id="10583" r:id="rId296"/>
    <p:sldId id="10592" r:id="rId297"/>
    <p:sldId id="10584" r:id="rId298"/>
    <p:sldId id="10591" r:id="rId299"/>
    <p:sldId id="10596" r:id="rId300"/>
    <p:sldId id="10593" r:id="rId301"/>
    <p:sldId id="10598" r:id="rId302"/>
    <p:sldId id="10594" r:id="rId303"/>
    <p:sldId id="10595" r:id="rId304"/>
    <p:sldId id="936" r:id="rId305"/>
    <p:sldId id="10587" r:id="rId306"/>
    <p:sldId id="10588" r:id="rId307"/>
    <p:sldId id="823" r:id="rId308"/>
    <p:sldId id="824" r:id="rId309"/>
    <p:sldId id="810" r:id="rId310"/>
    <p:sldId id="10599" r:id="rId311"/>
    <p:sldId id="512" r:id="rId312"/>
    <p:sldId id="10561" r:id="rId313"/>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D4B04A26-677D-4F42-935A-AFC5E88D43B3}">
          <p14:sldIdLst>
            <p14:sldId id="343"/>
            <p14:sldId id="325"/>
            <p14:sldId id="327"/>
            <p14:sldId id="10470"/>
            <p14:sldId id="371"/>
            <p14:sldId id="328"/>
            <p14:sldId id="10525"/>
            <p14:sldId id="511"/>
            <p14:sldId id="10522"/>
            <p14:sldId id="10585"/>
          </p14:sldIdLst>
        </p14:section>
        <p14:section name="Intro" id="{D174B014-8D4A-4723-88FA-455751591D4B}">
          <p14:sldIdLst>
            <p14:sldId id="10471"/>
            <p14:sldId id="10412"/>
            <p14:sldId id="602"/>
            <p14:sldId id="10413"/>
            <p14:sldId id="369"/>
            <p14:sldId id="266"/>
            <p14:sldId id="594"/>
            <p14:sldId id="10401"/>
            <p14:sldId id="937"/>
            <p14:sldId id="10414"/>
            <p14:sldId id="963"/>
            <p14:sldId id="324"/>
            <p14:sldId id="10415"/>
            <p14:sldId id="10416"/>
            <p14:sldId id="2829"/>
            <p14:sldId id="10523"/>
            <p14:sldId id="938"/>
            <p14:sldId id="947"/>
            <p14:sldId id="10526"/>
            <p14:sldId id="10524"/>
          </p14:sldIdLst>
        </p14:section>
        <p14:section name="DEMO 1" id="{EDA24CE3-BFBF-4781-BA0B-4151A1C0489A}">
          <p14:sldIdLst>
            <p14:sldId id="340"/>
            <p14:sldId id="609"/>
            <p14:sldId id="966"/>
            <p14:sldId id="967"/>
            <p14:sldId id="971"/>
            <p14:sldId id="972"/>
            <p14:sldId id="973"/>
            <p14:sldId id="974"/>
            <p14:sldId id="975"/>
            <p14:sldId id="10527"/>
            <p14:sldId id="980"/>
            <p14:sldId id="968"/>
            <p14:sldId id="10531"/>
            <p14:sldId id="10532"/>
            <p14:sldId id="10528"/>
            <p14:sldId id="10529"/>
            <p14:sldId id="10530"/>
            <p14:sldId id="10533"/>
            <p14:sldId id="976"/>
          </p14:sldIdLst>
        </p14:section>
        <p14:section name="DEMO 2" id="{3A005842-2A71-41C1-9B5E-003783130F36}">
          <p14:sldIdLst>
            <p14:sldId id="10472"/>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D5C6BD9D-18F2-4DE8-BCCF-6D32FB0E1093}">
          <p14:sldIdLst>
            <p14:sldId id="10473"/>
            <p14:sldId id="1081"/>
            <p14:sldId id="1076"/>
            <p14:sldId id="1077"/>
            <p14:sldId id="1082"/>
            <p14:sldId id="1083"/>
            <p14:sldId id="1084"/>
            <p14:sldId id="1085"/>
            <p14:sldId id="1088"/>
            <p14:sldId id="1089"/>
            <p14:sldId id="10536"/>
            <p14:sldId id="1090"/>
            <p14:sldId id="1091"/>
            <p14:sldId id="10537"/>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7F5AF1C4-6137-4CC1-AA23-3F13E90B3610}">
          <p14:sldIdLst>
            <p14:sldId id="10476"/>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1A0BD8F1-6C40-4754-8234-A3A37172F9AE}">
          <p14:sldIdLst>
            <p14:sldId id="10475"/>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D7B6AFE7-17A9-45EA-87F0-EF38D0051C58}">
          <p14:sldIdLst>
            <p14:sldId id="10490"/>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DEMO 7" id="{477BF396-9388-48F0-9437-2453EB37C2B8}">
          <p14:sldIdLst>
            <p14:sldId id="10534"/>
            <p14:sldId id="10535"/>
            <p14:sldId id="10545"/>
            <p14:sldId id="10546"/>
            <p14:sldId id="10547"/>
            <p14:sldId id="10548"/>
            <p14:sldId id="10549"/>
            <p14:sldId id="10552"/>
            <p14:sldId id="10553"/>
            <p14:sldId id="10550"/>
            <p14:sldId id="10551"/>
            <p14:sldId id="10554"/>
          </p14:sldIdLst>
        </p14:section>
        <p14:section name="DEMO 8" id="{4D0A1D89-3845-4A91-BA47-1778A01866AE}">
          <p14:sldIdLst>
            <p14:sldId id="10538"/>
            <p14:sldId id="10557"/>
            <p14:sldId id="10558"/>
            <p14:sldId id="10589"/>
            <p14:sldId id="10559"/>
            <p14:sldId id="10556"/>
            <p14:sldId id="10555"/>
            <p14:sldId id="10562"/>
            <p14:sldId id="10566"/>
            <p14:sldId id="10563"/>
            <p14:sldId id="10567"/>
            <p14:sldId id="10564"/>
            <p14:sldId id="10565"/>
            <p14:sldId id="10568"/>
            <p14:sldId id="10579"/>
            <p14:sldId id="10569"/>
            <p14:sldId id="10575"/>
          </p14:sldIdLst>
        </p14:section>
        <p14:section name="DEMO 9" id="{A8F48E4E-B6BB-4AB0-8566-E543075632EB}">
          <p14:sldIdLst>
            <p14:sldId id="10541"/>
            <p14:sldId id="10576"/>
            <p14:sldId id="10577"/>
            <p14:sldId id="10578"/>
            <p14:sldId id="10570"/>
            <p14:sldId id="10571"/>
            <p14:sldId id="10572"/>
            <p14:sldId id="10573"/>
            <p14:sldId id="10574"/>
            <p14:sldId id="10540"/>
            <p14:sldId id="10580"/>
          </p14:sldIdLst>
        </p14:section>
        <p14:section name="DEMO 10" id="{C12E384D-747C-4067-BFD2-67D100546F4E}">
          <p14:sldIdLst>
            <p14:sldId id="10542"/>
            <p14:sldId id="10543"/>
            <p14:sldId id="10590"/>
            <p14:sldId id="10581"/>
            <p14:sldId id="10582"/>
            <p14:sldId id="10583"/>
            <p14:sldId id="10592"/>
            <p14:sldId id="10584"/>
            <p14:sldId id="10591"/>
            <p14:sldId id="10596"/>
            <p14:sldId id="10593"/>
            <p14:sldId id="10598"/>
            <p14:sldId id="10594"/>
            <p14:sldId id="10595"/>
          </p14:sldIdLst>
        </p14:section>
        <p14:section name="END" id="{D63A5623-874A-4021-8463-B45A95150954}">
          <p14:sldIdLst>
            <p14:sldId id="936"/>
            <p14:sldId id="10587"/>
            <p14:sldId id="10588"/>
            <p14:sldId id="823"/>
            <p14:sldId id="824"/>
            <p14:sldId id="810"/>
            <p14:sldId id="10599"/>
            <p14:sldId id="512"/>
            <p14:sldId id="1056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aden Ford" initials="BF" lastIdx="7" clrIdx="0"/>
  <p:cmAuthor id="2" name="Jessica Lodien" initials="JL" lastIdx="16" clrIdx="1">
    <p:extLst>
      <p:ext uri="{19B8F6BF-5375-455C-9EA6-DF929625EA0E}">
        <p15:presenceInfo xmlns:p15="http://schemas.microsoft.com/office/powerpoint/2012/main" userId="S::jessica@queldesign.com::455b67a3-ee6b-4a1d-81db-5983c896bc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9E52"/>
    <a:srgbClr val="F7F7F7"/>
    <a:srgbClr val="777777"/>
    <a:srgbClr val="E3E3E3"/>
    <a:srgbClr val="00AF6F"/>
    <a:srgbClr val="5B5D5D"/>
    <a:srgbClr val="007840"/>
    <a:srgbClr val="F2F2F2"/>
    <a:srgbClr val="F2F2F1"/>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819" autoAdjust="0"/>
    <p:restoredTop sz="87818" autoAdjust="0"/>
  </p:normalViewPr>
  <p:slideViewPr>
    <p:cSldViewPr snapToGrid="0">
      <p:cViewPr varScale="1">
        <p:scale>
          <a:sx n="147" d="100"/>
          <a:sy n="147" d="100"/>
        </p:scale>
        <p:origin x="840" y="108"/>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4" d="100"/>
          <a:sy n="84" d="100"/>
        </p:scale>
        <p:origin x="2382" y="96"/>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99" Type="http://schemas.openxmlformats.org/officeDocument/2006/relationships/slide" Target="slides/slide296.xml"/><Relationship Id="rId303" Type="http://schemas.openxmlformats.org/officeDocument/2006/relationships/slide" Target="slides/slide300.xml"/><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slide" Target="slides/slide135.xml"/><Relationship Id="rId159" Type="http://schemas.openxmlformats.org/officeDocument/2006/relationships/slide" Target="slides/slide156.xml"/><Relationship Id="rId170" Type="http://schemas.openxmlformats.org/officeDocument/2006/relationships/slide" Target="slides/slide167.xml"/><Relationship Id="rId191" Type="http://schemas.openxmlformats.org/officeDocument/2006/relationships/slide" Target="slides/slide188.xml"/><Relationship Id="rId205" Type="http://schemas.openxmlformats.org/officeDocument/2006/relationships/slide" Target="slides/slide202.xml"/><Relationship Id="rId226" Type="http://schemas.openxmlformats.org/officeDocument/2006/relationships/slide" Target="slides/slide223.xml"/><Relationship Id="rId247" Type="http://schemas.openxmlformats.org/officeDocument/2006/relationships/slide" Target="slides/slide244.xml"/><Relationship Id="rId107" Type="http://schemas.openxmlformats.org/officeDocument/2006/relationships/slide" Target="slides/slide104.xml"/><Relationship Id="rId268" Type="http://schemas.openxmlformats.org/officeDocument/2006/relationships/slide" Target="slides/slide265.xml"/><Relationship Id="rId289" Type="http://schemas.openxmlformats.org/officeDocument/2006/relationships/slide" Target="slides/slide286.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slide" Target="slides/slide125.xml"/><Relationship Id="rId149" Type="http://schemas.openxmlformats.org/officeDocument/2006/relationships/slide" Target="slides/slide146.xml"/><Relationship Id="rId314" Type="http://schemas.openxmlformats.org/officeDocument/2006/relationships/notesMaster" Target="notesMasters/notesMaster1.xml"/><Relationship Id="rId5" Type="http://schemas.openxmlformats.org/officeDocument/2006/relationships/slide" Target="slides/slide2.xml"/><Relationship Id="rId95" Type="http://schemas.openxmlformats.org/officeDocument/2006/relationships/slide" Target="slides/slide92.xml"/><Relationship Id="rId160" Type="http://schemas.openxmlformats.org/officeDocument/2006/relationships/slide" Target="slides/slide157.xml"/><Relationship Id="rId181" Type="http://schemas.openxmlformats.org/officeDocument/2006/relationships/slide" Target="slides/slide178.xml"/><Relationship Id="rId216" Type="http://schemas.openxmlformats.org/officeDocument/2006/relationships/slide" Target="slides/slide213.xml"/><Relationship Id="rId237" Type="http://schemas.openxmlformats.org/officeDocument/2006/relationships/slide" Target="slides/slide234.xml"/><Relationship Id="rId258" Type="http://schemas.openxmlformats.org/officeDocument/2006/relationships/slide" Target="slides/slide255.xml"/><Relationship Id="rId279" Type="http://schemas.openxmlformats.org/officeDocument/2006/relationships/slide" Target="slides/slide276.xml"/><Relationship Id="rId22" Type="http://schemas.openxmlformats.org/officeDocument/2006/relationships/slide" Target="slides/slide19.xml"/><Relationship Id="rId43" Type="http://schemas.openxmlformats.org/officeDocument/2006/relationships/slide" Target="slides/slide40.xml"/><Relationship Id="rId64" Type="http://schemas.openxmlformats.org/officeDocument/2006/relationships/slide" Target="slides/slide61.xml"/><Relationship Id="rId118" Type="http://schemas.openxmlformats.org/officeDocument/2006/relationships/slide" Target="slides/slide115.xml"/><Relationship Id="rId139" Type="http://schemas.openxmlformats.org/officeDocument/2006/relationships/slide" Target="slides/slide136.xml"/><Relationship Id="rId290" Type="http://schemas.openxmlformats.org/officeDocument/2006/relationships/slide" Target="slides/slide287.xml"/><Relationship Id="rId304" Type="http://schemas.openxmlformats.org/officeDocument/2006/relationships/slide" Target="slides/slide301.xml"/><Relationship Id="rId85" Type="http://schemas.openxmlformats.org/officeDocument/2006/relationships/slide" Target="slides/slide82.xml"/><Relationship Id="rId150" Type="http://schemas.openxmlformats.org/officeDocument/2006/relationships/slide" Target="slides/slide147.xml"/><Relationship Id="rId171" Type="http://schemas.openxmlformats.org/officeDocument/2006/relationships/slide" Target="slides/slide168.xml"/><Relationship Id="rId192" Type="http://schemas.openxmlformats.org/officeDocument/2006/relationships/slide" Target="slides/slide189.xml"/><Relationship Id="rId206" Type="http://schemas.openxmlformats.org/officeDocument/2006/relationships/slide" Target="slides/slide203.xml"/><Relationship Id="rId227" Type="http://schemas.openxmlformats.org/officeDocument/2006/relationships/slide" Target="slides/slide224.xml"/><Relationship Id="rId248" Type="http://schemas.openxmlformats.org/officeDocument/2006/relationships/slide" Target="slides/slide245.xml"/><Relationship Id="rId269" Type="http://schemas.openxmlformats.org/officeDocument/2006/relationships/slide" Target="slides/slide266.xml"/><Relationship Id="rId12" Type="http://schemas.openxmlformats.org/officeDocument/2006/relationships/slide" Target="slides/slide9.xml"/><Relationship Id="rId33" Type="http://schemas.openxmlformats.org/officeDocument/2006/relationships/slide" Target="slides/slide30.xml"/><Relationship Id="rId108" Type="http://schemas.openxmlformats.org/officeDocument/2006/relationships/slide" Target="slides/slide105.xml"/><Relationship Id="rId129" Type="http://schemas.openxmlformats.org/officeDocument/2006/relationships/slide" Target="slides/slide126.xml"/><Relationship Id="rId280" Type="http://schemas.openxmlformats.org/officeDocument/2006/relationships/slide" Target="slides/slide277.xml"/><Relationship Id="rId315" Type="http://schemas.openxmlformats.org/officeDocument/2006/relationships/handoutMaster" Target="handoutMasters/handoutMaster1.xml"/><Relationship Id="rId54" Type="http://schemas.openxmlformats.org/officeDocument/2006/relationships/slide" Target="slides/slide51.xml"/><Relationship Id="rId75" Type="http://schemas.openxmlformats.org/officeDocument/2006/relationships/slide" Target="slides/slide72.xml"/><Relationship Id="rId96" Type="http://schemas.openxmlformats.org/officeDocument/2006/relationships/slide" Target="slides/slide93.xml"/><Relationship Id="rId140" Type="http://schemas.openxmlformats.org/officeDocument/2006/relationships/slide" Target="slides/slide137.xml"/><Relationship Id="rId161" Type="http://schemas.openxmlformats.org/officeDocument/2006/relationships/slide" Target="slides/slide158.xml"/><Relationship Id="rId182" Type="http://schemas.openxmlformats.org/officeDocument/2006/relationships/slide" Target="slides/slide179.xml"/><Relationship Id="rId217" Type="http://schemas.openxmlformats.org/officeDocument/2006/relationships/slide" Target="slides/slide214.xml"/><Relationship Id="rId6" Type="http://schemas.openxmlformats.org/officeDocument/2006/relationships/slide" Target="slides/slide3.xml"/><Relationship Id="rId238" Type="http://schemas.openxmlformats.org/officeDocument/2006/relationships/slide" Target="slides/slide235.xml"/><Relationship Id="rId259" Type="http://schemas.openxmlformats.org/officeDocument/2006/relationships/slide" Target="slides/slide256.xml"/><Relationship Id="rId23" Type="http://schemas.openxmlformats.org/officeDocument/2006/relationships/slide" Target="slides/slide20.xml"/><Relationship Id="rId119" Type="http://schemas.openxmlformats.org/officeDocument/2006/relationships/slide" Target="slides/slide116.xml"/><Relationship Id="rId270" Type="http://schemas.openxmlformats.org/officeDocument/2006/relationships/slide" Target="slides/slide267.xml"/><Relationship Id="rId291" Type="http://schemas.openxmlformats.org/officeDocument/2006/relationships/slide" Target="slides/slide288.xml"/><Relationship Id="rId305" Type="http://schemas.openxmlformats.org/officeDocument/2006/relationships/slide" Target="slides/slide302.xml"/><Relationship Id="rId44" Type="http://schemas.openxmlformats.org/officeDocument/2006/relationships/slide" Target="slides/slide41.xml"/><Relationship Id="rId65" Type="http://schemas.openxmlformats.org/officeDocument/2006/relationships/slide" Target="slides/slide62.xml"/><Relationship Id="rId86" Type="http://schemas.openxmlformats.org/officeDocument/2006/relationships/slide" Target="slides/slide83.xml"/><Relationship Id="rId130" Type="http://schemas.openxmlformats.org/officeDocument/2006/relationships/slide" Target="slides/slide127.xml"/><Relationship Id="rId151" Type="http://schemas.openxmlformats.org/officeDocument/2006/relationships/slide" Target="slides/slide148.xml"/><Relationship Id="rId172" Type="http://schemas.openxmlformats.org/officeDocument/2006/relationships/slide" Target="slides/slide169.xml"/><Relationship Id="rId193" Type="http://schemas.openxmlformats.org/officeDocument/2006/relationships/slide" Target="slides/slide190.xml"/><Relationship Id="rId207" Type="http://schemas.openxmlformats.org/officeDocument/2006/relationships/slide" Target="slides/slide204.xml"/><Relationship Id="rId228" Type="http://schemas.openxmlformats.org/officeDocument/2006/relationships/slide" Target="slides/slide225.xml"/><Relationship Id="rId249" Type="http://schemas.openxmlformats.org/officeDocument/2006/relationships/slide" Target="slides/slide246.xml"/><Relationship Id="rId13" Type="http://schemas.openxmlformats.org/officeDocument/2006/relationships/slide" Target="slides/slide10.xml"/><Relationship Id="rId109" Type="http://schemas.openxmlformats.org/officeDocument/2006/relationships/slide" Target="slides/slide106.xml"/><Relationship Id="rId260" Type="http://schemas.openxmlformats.org/officeDocument/2006/relationships/slide" Target="slides/slide257.xml"/><Relationship Id="rId281" Type="http://schemas.openxmlformats.org/officeDocument/2006/relationships/slide" Target="slides/slide278.xml"/><Relationship Id="rId316" Type="http://schemas.openxmlformats.org/officeDocument/2006/relationships/commentAuthors" Target="commentAuthors.xml"/><Relationship Id="rId34" Type="http://schemas.openxmlformats.org/officeDocument/2006/relationships/slide" Target="slides/slide31.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20" Type="http://schemas.openxmlformats.org/officeDocument/2006/relationships/slide" Target="slides/slide117.xml"/><Relationship Id="rId141" Type="http://schemas.openxmlformats.org/officeDocument/2006/relationships/slide" Target="slides/slide138.xml"/><Relationship Id="rId7" Type="http://schemas.openxmlformats.org/officeDocument/2006/relationships/slide" Target="slides/slide4.xml"/><Relationship Id="rId162" Type="http://schemas.openxmlformats.org/officeDocument/2006/relationships/slide" Target="slides/slide159.xml"/><Relationship Id="rId183" Type="http://schemas.openxmlformats.org/officeDocument/2006/relationships/slide" Target="slides/slide180.xml"/><Relationship Id="rId218" Type="http://schemas.openxmlformats.org/officeDocument/2006/relationships/slide" Target="slides/slide215.xml"/><Relationship Id="rId239" Type="http://schemas.openxmlformats.org/officeDocument/2006/relationships/slide" Target="slides/slide236.xml"/><Relationship Id="rId250" Type="http://schemas.openxmlformats.org/officeDocument/2006/relationships/slide" Target="slides/slide247.xml"/><Relationship Id="rId271" Type="http://schemas.openxmlformats.org/officeDocument/2006/relationships/slide" Target="slides/slide268.xml"/><Relationship Id="rId292" Type="http://schemas.openxmlformats.org/officeDocument/2006/relationships/slide" Target="slides/slide289.xml"/><Relationship Id="rId306" Type="http://schemas.openxmlformats.org/officeDocument/2006/relationships/slide" Target="slides/slide303.xml"/><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slide" Target="slides/slide226.xml"/><Relationship Id="rId19" Type="http://schemas.openxmlformats.org/officeDocument/2006/relationships/slide" Target="slides/slide16.xml"/><Relationship Id="rId224" Type="http://schemas.openxmlformats.org/officeDocument/2006/relationships/slide" Target="slides/slide221.xml"/><Relationship Id="rId240" Type="http://schemas.openxmlformats.org/officeDocument/2006/relationships/slide" Target="slides/slide237.xml"/><Relationship Id="rId245" Type="http://schemas.openxmlformats.org/officeDocument/2006/relationships/slide" Target="slides/slide242.xml"/><Relationship Id="rId261" Type="http://schemas.openxmlformats.org/officeDocument/2006/relationships/slide" Target="slides/slide258.xml"/><Relationship Id="rId266" Type="http://schemas.openxmlformats.org/officeDocument/2006/relationships/slide" Target="slides/slide263.xml"/><Relationship Id="rId287" Type="http://schemas.openxmlformats.org/officeDocument/2006/relationships/slide" Target="slides/slide284.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282" Type="http://schemas.openxmlformats.org/officeDocument/2006/relationships/slide" Target="slides/slide279.xml"/><Relationship Id="rId312" Type="http://schemas.openxmlformats.org/officeDocument/2006/relationships/slide" Target="slides/slide309.xml"/><Relationship Id="rId317"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189" Type="http://schemas.openxmlformats.org/officeDocument/2006/relationships/slide" Target="slides/slide186.xml"/><Relationship Id="rId219" Type="http://schemas.openxmlformats.org/officeDocument/2006/relationships/slide" Target="slides/slide216.xml"/><Relationship Id="rId3" Type="http://schemas.openxmlformats.org/officeDocument/2006/relationships/slideMaster" Target="slideMasters/slideMaster3.xml"/><Relationship Id="rId214" Type="http://schemas.openxmlformats.org/officeDocument/2006/relationships/slide" Target="slides/slide211.xml"/><Relationship Id="rId230" Type="http://schemas.openxmlformats.org/officeDocument/2006/relationships/slide" Target="slides/slide227.xml"/><Relationship Id="rId235" Type="http://schemas.openxmlformats.org/officeDocument/2006/relationships/slide" Target="slides/slide232.xml"/><Relationship Id="rId251" Type="http://schemas.openxmlformats.org/officeDocument/2006/relationships/slide" Target="slides/slide248.xml"/><Relationship Id="rId256" Type="http://schemas.openxmlformats.org/officeDocument/2006/relationships/slide" Target="slides/slide253.xml"/><Relationship Id="rId277" Type="http://schemas.openxmlformats.org/officeDocument/2006/relationships/slide" Target="slides/slide274.xml"/><Relationship Id="rId298" Type="http://schemas.openxmlformats.org/officeDocument/2006/relationships/slide" Target="slides/slide295.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72" Type="http://schemas.openxmlformats.org/officeDocument/2006/relationships/slide" Target="slides/slide269.xml"/><Relationship Id="rId293" Type="http://schemas.openxmlformats.org/officeDocument/2006/relationships/slide" Target="slides/slide290.xml"/><Relationship Id="rId302" Type="http://schemas.openxmlformats.org/officeDocument/2006/relationships/slide" Target="slides/slide299.xml"/><Relationship Id="rId307" Type="http://schemas.openxmlformats.org/officeDocument/2006/relationships/slide" Target="slides/slide304.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79" Type="http://schemas.openxmlformats.org/officeDocument/2006/relationships/slide" Target="slides/slide176.xml"/><Relationship Id="rId195" Type="http://schemas.openxmlformats.org/officeDocument/2006/relationships/slide" Target="slides/slide192.xml"/><Relationship Id="rId209" Type="http://schemas.openxmlformats.org/officeDocument/2006/relationships/slide" Target="slides/slide206.xml"/><Relationship Id="rId190" Type="http://schemas.openxmlformats.org/officeDocument/2006/relationships/slide" Target="slides/slide187.xml"/><Relationship Id="rId204" Type="http://schemas.openxmlformats.org/officeDocument/2006/relationships/slide" Target="slides/slide201.xml"/><Relationship Id="rId220" Type="http://schemas.openxmlformats.org/officeDocument/2006/relationships/slide" Target="slides/slide217.xml"/><Relationship Id="rId225" Type="http://schemas.openxmlformats.org/officeDocument/2006/relationships/slide" Target="slides/slide222.xml"/><Relationship Id="rId241" Type="http://schemas.openxmlformats.org/officeDocument/2006/relationships/slide" Target="slides/slide238.xml"/><Relationship Id="rId246" Type="http://schemas.openxmlformats.org/officeDocument/2006/relationships/slide" Target="slides/slide243.xml"/><Relationship Id="rId267" Type="http://schemas.openxmlformats.org/officeDocument/2006/relationships/slide" Target="slides/slide264.xml"/><Relationship Id="rId288" Type="http://schemas.openxmlformats.org/officeDocument/2006/relationships/slide" Target="slides/slide285.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slide" Target="slides/slide103.xml"/><Relationship Id="rId127" Type="http://schemas.openxmlformats.org/officeDocument/2006/relationships/slide" Target="slides/slide124.xml"/><Relationship Id="rId262" Type="http://schemas.openxmlformats.org/officeDocument/2006/relationships/slide" Target="slides/slide259.xml"/><Relationship Id="rId283" Type="http://schemas.openxmlformats.org/officeDocument/2006/relationships/slide" Target="slides/slide280.xml"/><Relationship Id="rId313" Type="http://schemas.openxmlformats.org/officeDocument/2006/relationships/slide" Target="slides/slide310.xml"/><Relationship Id="rId318" Type="http://schemas.openxmlformats.org/officeDocument/2006/relationships/viewProps" Target="viewProps.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48" Type="http://schemas.openxmlformats.org/officeDocument/2006/relationships/slide" Target="slides/slide145.xml"/><Relationship Id="rId164" Type="http://schemas.openxmlformats.org/officeDocument/2006/relationships/slide" Target="slides/slide161.xml"/><Relationship Id="rId169" Type="http://schemas.openxmlformats.org/officeDocument/2006/relationships/slide" Target="slides/slide166.xml"/><Relationship Id="rId185" Type="http://schemas.openxmlformats.org/officeDocument/2006/relationships/slide" Target="slides/slide182.xml"/><Relationship Id="rId4" Type="http://schemas.openxmlformats.org/officeDocument/2006/relationships/slide" Target="slides/slide1.xml"/><Relationship Id="rId9" Type="http://schemas.openxmlformats.org/officeDocument/2006/relationships/slide" Target="slides/slide6.xml"/><Relationship Id="rId180" Type="http://schemas.openxmlformats.org/officeDocument/2006/relationships/slide" Target="slides/slide177.xml"/><Relationship Id="rId210" Type="http://schemas.openxmlformats.org/officeDocument/2006/relationships/slide" Target="slides/slide207.xml"/><Relationship Id="rId215" Type="http://schemas.openxmlformats.org/officeDocument/2006/relationships/slide" Target="slides/slide212.xml"/><Relationship Id="rId236" Type="http://schemas.openxmlformats.org/officeDocument/2006/relationships/slide" Target="slides/slide233.xml"/><Relationship Id="rId257" Type="http://schemas.openxmlformats.org/officeDocument/2006/relationships/slide" Target="slides/slide254.xml"/><Relationship Id="rId278" Type="http://schemas.openxmlformats.org/officeDocument/2006/relationships/slide" Target="slides/slide275.xml"/><Relationship Id="rId26" Type="http://schemas.openxmlformats.org/officeDocument/2006/relationships/slide" Target="slides/slide23.xml"/><Relationship Id="rId231" Type="http://schemas.openxmlformats.org/officeDocument/2006/relationships/slide" Target="slides/slide228.xml"/><Relationship Id="rId252" Type="http://schemas.openxmlformats.org/officeDocument/2006/relationships/slide" Target="slides/slide249.xml"/><Relationship Id="rId273" Type="http://schemas.openxmlformats.org/officeDocument/2006/relationships/slide" Target="slides/slide270.xml"/><Relationship Id="rId294" Type="http://schemas.openxmlformats.org/officeDocument/2006/relationships/slide" Target="slides/slide291.xml"/><Relationship Id="rId308" Type="http://schemas.openxmlformats.org/officeDocument/2006/relationships/slide" Target="slides/slide305.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slide" Target="slides/slide239.xml"/><Relationship Id="rId263" Type="http://schemas.openxmlformats.org/officeDocument/2006/relationships/slide" Target="slides/slide260.xml"/><Relationship Id="rId284" Type="http://schemas.openxmlformats.org/officeDocument/2006/relationships/slide" Target="slides/slide281.xml"/><Relationship Id="rId319" Type="http://schemas.openxmlformats.org/officeDocument/2006/relationships/theme" Target="theme/theme1.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53" Type="http://schemas.openxmlformats.org/officeDocument/2006/relationships/slide" Target="slides/slide250.xml"/><Relationship Id="rId274" Type="http://schemas.openxmlformats.org/officeDocument/2006/relationships/slide" Target="slides/slide271.xml"/><Relationship Id="rId295" Type="http://schemas.openxmlformats.org/officeDocument/2006/relationships/slide" Target="slides/slide292.xml"/><Relationship Id="rId309" Type="http://schemas.openxmlformats.org/officeDocument/2006/relationships/slide" Target="slides/slide306.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320" Type="http://schemas.openxmlformats.org/officeDocument/2006/relationships/tableStyles" Target="tableStyles.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243" Type="http://schemas.openxmlformats.org/officeDocument/2006/relationships/slide" Target="slides/slide240.xml"/><Relationship Id="rId264" Type="http://schemas.openxmlformats.org/officeDocument/2006/relationships/slide" Target="slides/slide261.xml"/><Relationship Id="rId285" Type="http://schemas.openxmlformats.org/officeDocument/2006/relationships/slide" Target="slides/slide282.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310" Type="http://schemas.openxmlformats.org/officeDocument/2006/relationships/slide" Target="slides/slide307.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33" Type="http://schemas.openxmlformats.org/officeDocument/2006/relationships/slide" Target="slides/slide230.xml"/><Relationship Id="rId254" Type="http://schemas.openxmlformats.org/officeDocument/2006/relationships/slide" Target="slides/slide251.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275" Type="http://schemas.openxmlformats.org/officeDocument/2006/relationships/slide" Target="slides/slide272.xml"/><Relationship Id="rId296" Type="http://schemas.openxmlformats.org/officeDocument/2006/relationships/slide" Target="slides/slide293.xml"/><Relationship Id="rId300" Type="http://schemas.openxmlformats.org/officeDocument/2006/relationships/slide" Target="slides/slide297.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202" Type="http://schemas.openxmlformats.org/officeDocument/2006/relationships/slide" Target="slides/slide199.xml"/><Relationship Id="rId223" Type="http://schemas.openxmlformats.org/officeDocument/2006/relationships/slide" Target="slides/slide220.xml"/><Relationship Id="rId244" Type="http://schemas.openxmlformats.org/officeDocument/2006/relationships/slide" Target="slides/slide241.xml"/><Relationship Id="rId18" Type="http://schemas.openxmlformats.org/officeDocument/2006/relationships/slide" Target="slides/slide15.xml"/><Relationship Id="rId39" Type="http://schemas.openxmlformats.org/officeDocument/2006/relationships/slide" Target="slides/slide36.xml"/><Relationship Id="rId265" Type="http://schemas.openxmlformats.org/officeDocument/2006/relationships/slide" Target="slides/slide262.xml"/><Relationship Id="rId286" Type="http://schemas.openxmlformats.org/officeDocument/2006/relationships/slide" Target="slides/slide283.xml"/><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311" Type="http://schemas.openxmlformats.org/officeDocument/2006/relationships/slide" Target="slides/slide308.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34" Type="http://schemas.openxmlformats.org/officeDocument/2006/relationships/slide" Target="slides/slide231.xml"/><Relationship Id="rId2" Type="http://schemas.openxmlformats.org/officeDocument/2006/relationships/slideMaster" Target="slideMasters/slideMaster2.xml"/><Relationship Id="rId29" Type="http://schemas.openxmlformats.org/officeDocument/2006/relationships/slide" Target="slides/slide26.xml"/><Relationship Id="rId255" Type="http://schemas.openxmlformats.org/officeDocument/2006/relationships/slide" Target="slides/slide252.xml"/><Relationship Id="rId276" Type="http://schemas.openxmlformats.org/officeDocument/2006/relationships/slide" Target="slides/slide273.xml"/><Relationship Id="rId297" Type="http://schemas.openxmlformats.org/officeDocument/2006/relationships/slide" Target="slides/slide294.xml"/><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301" Type="http://schemas.openxmlformats.org/officeDocument/2006/relationships/slide" Target="slides/slide298.xml"/><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E1E63A2-433C-2447-B893-859ADBD60160}" type="slidenum">
              <a:rPr lang="en-US" smtClean="0"/>
              <a:t>‹#›</a:t>
            </a:fld>
            <a:endParaRPr lang="en-US"/>
          </a:p>
        </p:txBody>
      </p:sp>
    </p:spTree>
    <p:extLst>
      <p:ext uri="{BB962C8B-B14F-4D97-AF65-F5344CB8AC3E}">
        <p14:creationId xmlns:p14="http://schemas.microsoft.com/office/powerpoint/2010/main" val="10017222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76353FC-0869-45D3-95AF-CC29198471C2}" type="datetimeFigureOut">
              <a:rPr lang="en-US" smtClean="0"/>
              <a:t>11/4/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DD65AC4-17B0-4E19-8496-B264E70A18D3}" type="slidenum">
              <a:rPr lang="en-US" smtClean="0"/>
              <a:t>‹#›</a:t>
            </a:fld>
            <a:endParaRPr lang="en-US"/>
          </a:p>
        </p:txBody>
      </p:sp>
    </p:spTree>
    <p:extLst>
      <p:ext uri="{BB962C8B-B14F-4D97-AF65-F5344CB8AC3E}">
        <p14:creationId xmlns:p14="http://schemas.microsoft.com/office/powerpoint/2010/main" val="379893469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61.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8" Type="http://schemas.openxmlformats.org/officeDocument/2006/relationships/hyperlink" Target="https://youtu.be/rcrubFa8758" TargetMode="External"/><Relationship Id="rId13" Type="http://schemas.openxmlformats.org/officeDocument/2006/relationships/hyperlink" Target="https://docs.microsoft.com/powerapps/maker/canvas-apps/webinars-listing" TargetMode="External"/><Relationship Id="rId3" Type="http://schemas.openxmlformats.org/officeDocument/2006/relationships/hyperlink" Target="https://dba2o.wordpress.com/" TargetMode="External"/><Relationship Id="rId7" Type="http://schemas.openxmlformats.org/officeDocument/2006/relationships/hyperlink" Target="https://docs.microsoft.com/powerapps/maker/canvas-apps/add-scrolling-screen" TargetMode="External"/><Relationship Id="rId12" Type="http://schemas.openxmlformats.org/officeDocument/2006/relationships/hyperlink" Target="https://docs.microsoft.com/powerapps/maker/canvas-apps/open-and-run-a-sample-app" TargetMode="External"/><Relationship Id="rId2" Type="http://schemas.openxmlformats.org/officeDocument/2006/relationships/slide" Target="../slides/slide305.xml"/><Relationship Id="rId1" Type="http://schemas.openxmlformats.org/officeDocument/2006/relationships/notesMaster" Target="../notesMasters/notesMaster1.xml"/><Relationship Id="rId6" Type="http://schemas.openxmlformats.org/officeDocument/2006/relationships/hyperlink" Target="https://youtu.be/swpjfIyXCNA" TargetMode="External"/><Relationship Id="rId11" Type="http://schemas.openxmlformats.org/officeDocument/2006/relationships/hyperlink" Target="https://docs.microsoft.com/power-bi/service-cortana-intro" TargetMode="External"/><Relationship Id="rId5" Type="http://schemas.openxmlformats.org/officeDocument/2006/relationships/hyperlink" Target="https://docs.microsoft.com/power-platform/admin/pricing-billing-skus" TargetMode="External"/><Relationship Id="rId15" Type="http://schemas.openxmlformats.org/officeDocument/2006/relationships/hyperlink" Target="https://www.microsoft.com/en-us/businessapplicationssummit" TargetMode="External"/><Relationship Id="rId10" Type="http://schemas.openxmlformats.org/officeDocument/2006/relationships/hyperlink" Target="https://powerusers.microsoft.com/t5/General-Discussion/image-in-a-circle/m-p/9124#M4007" TargetMode="External"/><Relationship Id="rId4" Type="http://schemas.openxmlformats.org/officeDocument/2006/relationships/hyperlink" Target="https://docs.microsoft.com/learn/browse/?products=power-platform" TargetMode="External"/><Relationship Id="rId9" Type="http://schemas.openxmlformats.org/officeDocument/2006/relationships/hyperlink" Target="https://youtu.be/SaDEVOgOlYY" TargetMode="External"/><Relationship Id="rId14" Type="http://schemas.openxmlformats.org/officeDocument/2006/relationships/hyperlink" Target="https://go.microsoft.com/fwlink/?LinkId=2005303&amp;clcid=0x409"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1</a:t>
            </a:fld>
            <a:endParaRPr lang="en-US" dirty="0"/>
          </a:p>
        </p:txBody>
      </p:sp>
    </p:spTree>
    <p:extLst>
      <p:ext uri="{BB962C8B-B14F-4D97-AF65-F5344CB8AC3E}">
        <p14:creationId xmlns:p14="http://schemas.microsoft.com/office/powerpoint/2010/main" val="3975946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4/2019 9:5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265445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33178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5161746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224506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547038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6166923"/>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9928886"/>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065694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502737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2781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392986"/>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742772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4110482"/>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0359435"/>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687071"/>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175356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186697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068763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7384614"/>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637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503203"/>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925206"/>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8954557"/>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multiexperience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multiexperience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377592"/>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is the first Magic Quadrant for multiexperience development platforms (MXDPs), its predecessors having been Magic Quadrants for mobile app development platforms (MADPs). The change of name reflects the evolution of MADPs to serve expanding app use cases and development requirements. These requirements go beyond mobile apps to enable development of progressive web apps (PWAs), conversational apps (voice assistants and chatbots), immersive apps and wearable apps.</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 Challenger. In the MXDP market, enterprises often consider Microsoft because its suite of Visual Studio and Azure products is known to meet the needs of professional developers. Its PowerApps and Flow products are increasingly used by IT and citizen developers, too. Together, these products form a platform suite that is widely adopted for multiexperience development, although Microsoft lacks a formal platform naming and packaging convention.</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capabilities:</a:t>
            </a:r>
            <a:r>
              <a:rPr lang="en-US" sz="1200" kern="1200" dirty="0">
                <a:solidFill>
                  <a:schemeClr val="tx1"/>
                </a:solidFill>
                <a:effectLst/>
                <a:latin typeface="+mn-lt"/>
                <a:ea typeface="+mn-ea"/>
                <a:cs typeface="+mn-cs"/>
              </a:rPr>
              <a:t> Visual Studio with Xamarin offers native-level mobile app development, while Microsoft Bot Framework supports conversational app development for both voice and chatbot use cases. Microsoft is also one of the vendors at the forefront of supporting PWA and immersive app development.</a:t>
            </a:r>
          </a:p>
          <a:p>
            <a:r>
              <a:rPr lang="en-US" sz="1200" b="0" kern="1200" dirty="0">
                <a:solidFill>
                  <a:schemeClr val="tx1"/>
                </a:solidFill>
                <a:effectLst/>
                <a:latin typeface="+mn-lt"/>
                <a:ea typeface="+mn-ea"/>
                <a:cs typeface="+mn-cs"/>
              </a:rPr>
              <a:t>Viability and operations:</a:t>
            </a:r>
            <a:r>
              <a:rPr lang="en-US" sz="1200" kern="1200" dirty="0">
                <a:solidFill>
                  <a:schemeClr val="tx1"/>
                </a:solidFill>
                <a:effectLst/>
                <a:latin typeface="+mn-lt"/>
                <a:ea typeface="+mn-ea"/>
                <a:cs typeface="+mn-cs"/>
              </a:rPr>
              <a:t> Microsoft has a massive developer community and ecosystem for all the products under its MXDP umbrella. By taking an unopinionated approach to its development platform, Microsoft allows customers to use what they need and to interchange other product and components comparatively easily. Operationally, Microsoft has significant resources to support and invest in its MXDP offering.</a:t>
            </a:r>
          </a:p>
          <a:p>
            <a:r>
              <a:rPr lang="en-US" sz="1200" b="0" kern="1200" dirty="0">
                <a:solidFill>
                  <a:schemeClr val="tx1"/>
                </a:solidFill>
                <a:effectLst/>
                <a:latin typeface="+mn-lt"/>
                <a:ea typeface="+mn-ea"/>
                <a:cs typeface="+mn-cs"/>
              </a:rPr>
              <a:t>Market responsiveness:</a:t>
            </a:r>
            <a:r>
              <a:rPr lang="en-US" sz="1200" kern="1200" dirty="0">
                <a:solidFill>
                  <a:schemeClr val="tx1"/>
                </a:solidFill>
                <a:effectLst/>
                <a:latin typeface="+mn-lt"/>
                <a:ea typeface="+mn-ea"/>
                <a:cs typeface="+mn-cs"/>
              </a:rPr>
              <a:t> Microsoft embraces open-source technologies and has been active not only in its .NET Core community, but also in the Apache Cordova, React Native and Linux Foundation communities. It also offers a number of marketplaces for Visual Studio and Azure, plus the GitHub Marketplace through its acquisition of GitHub.</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Market understanding and marketing strategy:</a:t>
            </a:r>
            <a:r>
              <a:rPr lang="en-US" sz="1200" kern="1200" dirty="0">
                <a:solidFill>
                  <a:schemeClr val="tx1"/>
                </a:solidFill>
                <a:effectLst/>
                <a:latin typeface="+mn-lt"/>
                <a:ea typeface="+mn-ea"/>
                <a:cs typeface="+mn-cs"/>
              </a:rPr>
              <a:t> Microsoft markets to developers and takes a bottom-up go-to-market approach to its MXDP offering — more so than the other vendors in this Magic Quadrant. Although it is important to win the hearts and minds of developers, Microsoft lacks a higher-level, unified strategic value proposition for its MXDP for IT and business leaders, who are the final decision makers.</a:t>
            </a:r>
          </a:p>
          <a:p>
            <a:r>
              <a:rPr lang="en-US" sz="1200" b="0" kern="1200" dirty="0">
                <a:solidFill>
                  <a:schemeClr val="tx1"/>
                </a:solidFill>
                <a:effectLst/>
                <a:latin typeface="+mn-lt"/>
                <a:ea typeface="+mn-ea"/>
                <a:cs typeface="+mn-cs"/>
              </a:rPr>
              <a:t>Sales strategy:</a:t>
            </a:r>
            <a:r>
              <a:rPr lang="en-US" sz="1200" kern="1200" dirty="0">
                <a:solidFill>
                  <a:schemeClr val="tx1"/>
                </a:solidFill>
                <a:effectLst/>
                <a:latin typeface="+mn-lt"/>
                <a:ea typeface="+mn-ea"/>
                <a:cs typeface="+mn-cs"/>
              </a:rPr>
              <a:t> Microsoft gains customers for its MXDP platform suite as a strong incumbent supplier of developer tools and platform services in many enterprises. However, potential customers may find that its sales support and licensing models are less coordinated and focused than other vendors from a platform-centric perspective.</a:t>
            </a:r>
          </a:p>
          <a:p>
            <a:r>
              <a:rPr lang="en-US" sz="1200" b="0" kern="1200" dirty="0">
                <a:solidFill>
                  <a:schemeClr val="tx1"/>
                </a:solidFill>
                <a:effectLst/>
                <a:latin typeface="+mn-lt"/>
                <a:ea typeface="+mn-ea"/>
                <a:cs typeface="+mn-cs"/>
              </a:rPr>
              <a:t>Business model:</a:t>
            </a:r>
            <a:r>
              <a:rPr lang="en-US" sz="1200" kern="1200" dirty="0">
                <a:solidFill>
                  <a:schemeClr val="tx1"/>
                </a:solidFill>
                <a:effectLst/>
                <a:latin typeface="+mn-lt"/>
                <a:ea typeface="+mn-ea"/>
                <a:cs typeface="+mn-cs"/>
              </a:rPr>
              <a:t> Although Microsoft has taken a leadership position in many open-source areas to expand its technology scope, it does not demonstrate a compelling vision to monetize that activity for its MXDP (its PWA Builder and Visual Studio Code products, for example, are evidence of this). Also, with engineering and go-to-market responsibilities spread across Azure, Visual Studio and Business Applications teams, Microsoft currently lacks a cohesive platform business model that ties together its MXDP product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514069"/>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17890846"/>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53231225"/>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4127641"/>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30045854"/>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15483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4/2019 9:5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6201402"/>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9366552"/>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3599955"/>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83951934"/>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7110335"/>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9121404"/>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64191148"/>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97999447"/>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2232874"/>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128022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11457481"/>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344410"/>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1082227"/>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54420670"/>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10087979"/>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10247023"/>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49840835"/>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7337747"/>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7985274"/>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161750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7995091"/>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3176388"/>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66592190"/>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8316783"/>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50147599"/>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8919593"/>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434704"/>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49653065"/>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ba2o.wordpress.com/</a:t>
            </a:r>
            <a:endParaRPr lang="en-US" dirty="0">
              <a:hlinkClick r:id="rId4"/>
            </a:endParaRPr>
          </a:p>
          <a:p>
            <a:r>
              <a:rPr lang="en-US" dirty="0">
                <a:hlinkClick r:id="rId4"/>
              </a:rPr>
              <a:t>https://docs.microsoft.com/learn/browse/?products=power-platform</a:t>
            </a:r>
            <a:endParaRPr lang="en-US" dirty="0">
              <a:hlinkClick r:id="rId5"/>
            </a:endParaRPr>
          </a:p>
          <a:p>
            <a:r>
              <a:rPr lang="en-US" dirty="0">
                <a:hlinkClick r:id="rId5"/>
              </a:rPr>
              <a:t>https://docs.microsoft.com/power-platform/admin/pricing-billing-skus</a:t>
            </a:r>
            <a:endParaRPr lang="en-US" dirty="0">
              <a:hlinkClick r:id="rId6"/>
            </a:endParaRPr>
          </a:p>
          <a:p>
            <a:r>
              <a:rPr lang="en-US" dirty="0">
                <a:hlinkClick r:id="rId6"/>
              </a:rPr>
              <a:t>https://youtu.be/swpjfIyXCNA</a:t>
            </a:r>
            <a:endParaRPr lang="en-US" dirty="0">
              <a:hlinkClick r:id="rId7"/>
            </a:endParaRPr>
          </a:p>
          <a:p>
            <a:r>
              <a:rPr lang="en-US" dirty="0">
                <a:hlinkClick r:id="rId7"/>
              </a:rPr>
              <a:t>https://docs.microsoft.com/powerapps/maker/canvas-apps/add-scrolling-screen</a:t>
            </a:r>
            <a:endParaRPr lang="en-US" dirty="0">
              <a:hlinkClick r:id="rId8"/>
            </a:endParaRPr>
          </a:p>
          <a:p>
            <a:r>
              <a:rPr lang="en-US" dirty="0">
                <a:hlinkClick r:id="rId8"/>
              </a:rPr>
              <a:t>https://youtu.be/rcrubFa8758</a:t>
            </a:r>
            <a:endParaRPr lang="en-US" dirty="0">
              <a:hlinkClick r:id="rId9"/>
            </a:endParaRPr>
          </a:p>
          <a:p>
            <a:r>
              <a:rPr lang="en-US" dirty="0">
                <a:hlinkClick r:id="rId9"/>
              </a:rPr>
              <a:t>https://youtu.be/SaDEVOgOlYY</a:t>
            </a:r>
            <a:endParaRPr lang="en-US" dirty="0">
              <a:hlinkClick r:id="rId10"/>
            </a:endParaRPr>
          </a:p>
          <a:p>
            <a:r>
              <a:rPr lang="en-US" dirty="0">
                <a:hlinkClick r:id="rId10"/>
              </a:rPr>
              <a:t>https://powerusers.microsoft.com/t5/General-Discussion/image-in-a-circle/m-p/9124#M4007</a:t>
            </a:r>
            <a:endParaRPr lang="en-US" dirty="0"/>
          </a:p>
          <a:p>
            <a:r>
              <a:rPr lang="en-US" dirty="0">
                <a:hlinkClick r:id="rId11"/>
              </a:rPr>
              <a:t>https://docs.microsoft.com/power-bi/service-cortana-intro</a:t>
            </a:r>
            <a:endParaRPr lang="en-US" dirty="0">
              <a:hlinkClick r:id="rId12"/>
            </a:endParaRPr>
          </a:p>
          <a:p>
            <a:r>
              <a:rPr lang="en-US" dirty="0">
                <a:hlinkClick r:id="rId12"/>
              </a:rPr>
              <a:t>https://docs.microsoft.com/powerapps/maker/canvas-apps/open-and-run-a-sample-app</a:t>
            </a:r>
            <a:endParaRPr lang="en-US" dirty="0">
              <a:hlinkClick r:id="rId13"/>
            </a:endParaRPr>
          </a:p>
          <a:p>
            <a:r>
              <a:rPr lang="en-US" dirty="0">
                <a:hlinkClick r:id="rId13"/>
              </a:rPr>
              <a:t>https://docs.microsoft.com/powerapps/maker/canvas-apps/webinars-listing</a:t>
            </a:r>
            <a:endParaRPr lang="en-US" dirty="0">
              <a:hlinkClick r:id="rId14"/>
            </a:endParaRPr>
          </a:p>
          <a:p>
            <a:r>
              <a:rPr lang="en-US" dirty="0">
                <a:hlinkClick r:id="rId14"/>
              </a:rPr>
              <a:t>https://go.microsoft.com/fwlink/?LinkId=2005303&amp;clcid=0x409</a:t>
            </a:r>
            <a:endParaRPr lang="en-US" dirty="0">
              <a:hlinkClick r:id="rId15"/>
            </a:endParaRPr>
          </a:p>
          <a:p>
            <a:r>
              <a:rPr lang="en-US" dirty="0">
                <a:hlinkClick r:id="rId15"/>
              </a:rPr>
              <a:t>https://www.microsoft.com/en-us/businessapplicationssummit</a:t>
            </a:r>
            <a:endParaRPr lang="en-US" dirty="0"/>
          </a:p>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305</a:t>
            </a:fld>
            <a:endParaRPr lang="en-US"/>
          </a:p>
        </p:txBody>
      </p:sp>
    </p:spTree>
    <p:extLst>
      <p:ext uri="{BB962C8B-B14F-4D97-AF65-F5344CB8AC3E}">
        <p14:creationId xmlns:p14="http://schemas.microsoft.com/office/powerpoint/2010/main" val="12349478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626179"/>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14534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QR code</a:t>
            </a:r>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6</a:t>
            </a:fld>
            <a:endParaRPr lang="en-US"/>
          </a:p>
        </p:txBody>
      </p:sp>
    </p:spTree>
    <p:extLst>
      <p:ext uri="{BB962C8B-B14F-4D97-AF65-F5344CB8AC3E}">
        <p14:creationId xmlns:p14="http://schemas.microsoft.com/office/powerpoint/2010/main" val="20872377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981463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2693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77804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228938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661364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847047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09710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54807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9004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56243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4/2019 9:5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4/2019 9:5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9 9: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1.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8" Type="http://schemas.openxmlformats.org/officeDocument/2006/relationships/hyperlink" Target="http://www.sqlpass.org/Events/24HoursofPASS.aspx" TargetMode="External"/><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hyperlink" Target="http://www.sqlpass.org/PASSChapters/VirtualChapters.aspx" TargetMode="External"/><Relationship Id="rId5" Type="http://schemas.openxmlformats.org/officeDocument/2006/relationships/image" Target="../media/image10.png"/><Relationship Id="rId10" Type="http://schemas.openxmlformats.org/officeDocument/2006/relationships/hyperlink" Target="http://www.sqlpass.org/PASSChapters.aspx" TargetMode="External"/><Relationship Id="rId4" Type="http://schemas.openxmlformats.org/officeDocument/2006/relationships/image" Target="../media/image9.png"/><Relationship Id="rId9" Type="http://schemas.openxmlformats.org/officeDocument/2006/relationships/hyperlink" Target="http://www.sqlsaturday.com/" TargetMode="Externa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1.emf"/><Relationship Id="rId4" Type="http://schemas.openxmlformats.org/officeDocument/2006/relationships/oleObject" Target="../embeddings/oleObject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E04D08-2A2C-DA4E-AB5E-BB8634E1DE3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5160" r="12928"/>
          <a:stretch/>
        </p:blipFill>
        <p:spPr>
          <a:xfrm>
            <a:off x="4534125" y="200317"/>
            <a:ext cx="4416902" cy="4757362"/>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ession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8D1C74C9-555A-C742-A578-CE69FDDB62AD}"/>
              </a:ext>
            </a:extLst>
          </p:cNvPr>
          <p:cNvSpPr/>
          <p:nvPr userDrawn="1"/>
        </p:nvSpPr>
        <p:spPr>
          <a:xfrm>
            <a:off x="5723269" y="4036881"/>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27012164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8431205"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Tree>
    <p:extLst>
      <p:ext uri="{BB962C8B-B14F-4D97-AF65-F5344CB8AC3E}">
        <p14:creationId xmlns:p14="http://schemas.microsoft.com/office/powerpoint/2010/main" val="25861249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9C8B4-3532-8649-B0E2-C7EDDB2F64D9}"/>
              </a:ext>
            </a:extLst>
          </p:cNvPr>
          <p:cNvSpPr>
            <a:spLocks noGrp="1"/>
          </p:cNvSpPr>
          <p:nvPr>
            <p:ph type="title" hasCustomPrompt="1"/>
          </p:nvPr>
        </p:nvSpPr>
        <p:spPr>
          <a:xfrm>
            <a:off x="312745" y="437936"/>
            <a:ext cx="8481212" cy="614029"/>
          </a:xfrm>
          <a:prstGeom prst="rect">
            <a:avLst/>
          </a:prstGeom>
        </p:spPr>
        <p:txBody>
          <a:bodyPr anchor="t"/>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10" name="Text Placeholder 6">
            <a:extLst>
              <a:ext uri="{FF2B5EF4-FFF2-40B4-BE49-F238E27FC236}">
                <a16:creationId xmlns:a16="http://schemas.microsoft.com/office/drawing/2014/main" id="{F7B1DCCF-44AE-4447-A5D2-2B31454F7C55}"/>
              </a:ext>
            </a:extLst>
          </p:cNvPr>
          <p:cNvSpPr>
            <a:spLocks noGrp="1"/>
          </p:cNvSpPr>
          <p:nvPr>
            <p:ph type="body" sz="quarter" idx="21" hasCustomPrompt="1"/>
          </p:nvPr>
        </p:nvSpPr>
        <p:spPr>
          <a:xfrm>
            <a:off x="312744" y="2577200"/>
            <a:ext cx="8481212" cy="2009430"/>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Quisque</a:t>
            </a:r>
            <a:r>
              <a:rPr lang="en-US" dirty="0"/>
              <a:t> convallis in </a:t>
            </a:r>
            <a:r>
              <a:rPr lang="en-US" dirty="0" err="1"/>
              <a:t>enim</a:t>
            </a:r>
            <a:r>
              <a:rPr lang="en-US" dirty="0"/>
              <a:t> non </a:t>
            </a:r>
            <a:r>
              <a:rPr lang="en-US" dirty="0" err="1"/>
              <a:t>consectetur</a:t>
            </a:r>
            <a:r>
              <a:rPr lang="en-US" dirty="0"/>
              <a:t>. </a:t>
            </a:r>
          </a:p>
        </p:txBody>
      </p:sp>
      <p:sp>
        <p:nvSpPr>
          <p:cNvPr id="5" name="Text Placeholder 30">
            <a:extLst>
              <a:ext uri="{FF2B5EF4-FFF2-40B4-BE49-F238E27FC236}">
                <a16:creationId xmlns:a16="http://schemas.microsoft.com/office/drawing/2014/main" id="{C0070D56-F030-5B4B-8ACF-425C6C41A316}"/>
              </a:ext>
            </a:extLst>
          </p:cNvPr>
          <p:cNvSpPr>
            <a:spLocks noGrp="1"/>
          </p:cNvSpPr>
          <p:nvPr>
            <p:ph type="body" sz="quarter" idx="10" hasCustomPrompt="1"/>
          </p:nvPr>
        </p:nvSpPr>
        <p:spPr>
          <a:xfrm>
            <a:off x="312744" y="2088170"/>
            <a:ext cx="8481211"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Tree>
    <p:extLst>
      <p:ext uri="{BB962C8B-B14F-4D97-AF65-F5344CB8AC3E}">
        <p14:creationId xmlns:p14="http://schemas.microsoft.com/office/powerpoint/2010/main" val="42905269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up">
    <p:spTree>
      <p:nvGrpSpPr>
        <p:cNvPr id="1" name=""/>
        <p:cNvGrpSpPr/>
        <p:nvPr/>
      </p:nvGrpSpPr>
      <p:grpSpPr>
        <a:xfrm>
          <a:off x="0" y="0"/>
          <a:ext cx="0" cy="0"/>
          <a:chOff x="0" y="0"/>
          <a:chExt cx="0" cy="0"/>
        </a:xfrm>
      </p:grpSpPr>
      <p:sp>
        <p:nvSpPr>
          <p:cNvPr id="9" name="Text Placeholder 30">
            <a:extLst>
              <a:ext uri="{FF2B5EF4-FFF2-40B4-BE49-F238E27FC236}">
                <a16:creationId xmlns:a16="http://schemas.microsoft.com/office/drawing/2014/main" id="{74EA10B5-BEA8-DF4A-95CD-639732E6CD48}"/>
              </a:ext>
            </a:extLst>
          </p:cNvPr>
          <p:cNvSpPr>
            <a:spLocks noGrp="1"/>
          </p:cNvSpPr>
          <p:nvPr>
            <p:ph type="body" sz="quarter" idx="10" hasCustomPrompt="1"/>
          </p:nvPr>
        </p:nvSpPr>
        <p:spPr>
          <a:xfrm>
            <a:off x="312745" y="2088170"/>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30">
            <a:extLst>
              <a:ext uri="{FF2B5EF4-FFF2-40B4-BE49-F238E27FC236}">
                <a16:creationId xmlns:a16="http://schemas.microsoft.com/office/drawing/2014/main" id="{E9647A82-03A4-AE4B-99B1-A3004783112B}"/>
              </a:ext>
            </a:extLst>
          </p:cNvPr>
          <p:cNvSpPr>
            <a:spLocks noGrp="1"/>
          </p:cNvSpPr>
          <p:nvPr>
            <p:ph type="body" sz="quarter" idx="24" hasCustomPrompt="1"/>
          </p:nvPr>
        </p:nvSpPr>
        <p:spPr>
          <a:xfrm>
            <a:off x="4708363" y="2088263"/>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itle 1">
            <a:extLst>
              <a:ext uri="{FF2B5EF4-FFF2-40B4-BE49-F238E27FC236}">
                <a16:creationId xmlns:a16="http://schemas.microsoft.com/office/drawing/2014/main" id="{9E5E4502-589B-1F4E-8074-44463D5E5584}"/>
              </a:ext>
            </a:extLst>
          </p:cNvPr>
          <p:cNvSpPr>
            <a:spLocks noGrp="1"/>
          </p:cNvSpPr>
          <p:nvPr>
            <p:ph type="title" hasCustomPrompt="1"/>
          </p:nvPr>
        </p:nvSpPr>
        <p:spPr>
          <a:xfrm>
            <a:off x="312745" y="437936"/>
            <a:ext cx="8345480"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8" name="Text Placeholder 6">
            <a:extLst>
              <a:ext uri="{FF2B5EF4-FFF2-40B4-BE49-F238E27FC236}">
                <a16:creationId xmlns:a16="http://schemas.microsoft.com/office/drawing/2014/main" id="{668B44A9-9E16-654C-862F-69740ACF1ADF}"/>
              </a:ext>
            </a:extLst>
          </p:cNvPr>
          <p:cNvSpPr>
            <a:spLocks noGrp="1"/>
          </p:cNvSpPr>
          <p:nvPr>
            <p:ph type="body" sz="quarter" idx="26" hasCustomPrompt="1"/>
          </p:nvPr>
        </p:nvSpPr>
        <p:spPr>
          <a:xfrm>
            <a:off x="312745" y="2577107"/>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1" name="Text Placeholder 6">
            <a:extLst>
              <a:ext uri="{FF2B5EF4-FFF2-40B4-BE49-F238E27FC236}">
                <a16:creationId xmlns:a16="http://schemas.microsoft.com/office/drawing/2014/main" id="{5A59B427-D716-294E-BDD5-7518C3A0F582}"/>
              </a:ext>
            </a:extLst>
          </p:cNvPr>
          <p:cNvSpPr>
            <a:spLocks noGrp="1"/>
          </p:cNvSpPr>
          <p:nvPr>
            <p:ph type="body" sz="quarter" idx="27" hasCustomPrompt="1"/>
          </p:nvPr>
        </p:nvSpPr>
        <p:spPr>
          <a:xfrm>
            <a:off x="4708363" y="2577200"/>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2317739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Up">
    <p:spTree>
      <p:nvGrpSpPr>
        <p:cNvPr id="1" name=""/>
        <p:cNvGrpSpPr/>
        <p:nvPr/>
      </p:nvGrpSpPr>
      <p:grpSpPr>
        <a:xfrm>
          <a:off x="0" y="0"/>
          <a:ext cx="0" cy="0"/>
          <a:chOff x="0" y="0"/>
          <a:chExt cx="0" cy="0"/>
        </a:xfrm>
      </p:grpSpPr>
      <p:sp>
        <p:nvSpPr>
          <p:cNvPr id="53" name="Title 1">
            <a:extLst>
              <a:ext uri="{FF2B5EF4-FFF2-40B4-BE49-F238E27FC236}">
                <a16:creationId xmlns:a16="http://schemas.microsoft.com/office/drawing/2014/main" id="{BAB81232-8718-1349-8F38-82F219293495}"/>
              </a:ext>
            </a:extLst>
          </p:cNvPr>
          <p:cNvSpPr>
            <a:spLocks noGrp="1"/>
          </p:cNvSpPr>
          <p:nvPr>
            <p:ph type="title" hasCustomPrompt="1"/>
          </p:nvPr>
        </p:nvSpPr>
        <p:spPr>
          <a:xfrm>
            <a:off x="312745" y="437936"/>
            <a:ext cx="8416918"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14A3640A-F564-DA43-85C8-F9C08C7EAFAD}"/>
              </a:ext>
            </a:extLst>
          </p:cNvPr>
          <p:cNvSpPr>
            <a:spLocks noGrp="1"/>
          </p:cNvSpPr>
          <p:nvPr>
            <p:ph type="body" sz="quarter" idx="10" hasCustomPrompt="1"/>
          </p:nvPr>
        </p:nvSpPr>
        <p:spPr>
          <a:xfrm>
            <a:off x="312745"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0" name="Text Placeholder 6">
            <a:extLst>
              <a:ext uri="{FF2B5EF4-FFF2-40B4-BE49-F238E27FC236}">
                <a16:creationId xmlns:a16="http://schemas.microsoft.com/office/drawing/2014/main" id="{B2C8E8C5-3289-9C4D-BE95-39E5120F1926}"/>
              </a:ext>
            </a:extLst>
          </p:cNvPr>
          <p:cNvSpPr>
            <a:spLocks noGrp="1"/>
          </p:cNvSpPr>
          <p:nvPr>
            <p:ph type="body" sz="quarter" idx="26" hasCustomPrompt="1"/>
          </p:nvPr>
        </p:nvSpPr>
        <p:spPr>
          <a:xfrm>
            <a:off x="312745"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4" name="Text Placeholder 30">
            <a:extLst>
              <a:ext uri="{FF2B5EF4-FFF2-40B4-BE49-F238E27FC236}">
                <a16:creationId xmlns:a16="http://schemas.microsoft.com/office/drawing/2014/main" id="{FF215F86-6B61-8F40-8FEE-4AE31931B156}"/>
              </a:ext>
            </a:extLst>
          </p:cNvPr>
          <p:cNvSpPr>
            <a:spLocks noGrp="1"/>
          </p:cNvSpPr>
          <p:nvPr>
            <p:ph type="body" sz="quarter" idx="27" hasCustomPrompt="1"/>
          </p:nvPr>
        </p:nvSpPr>
        <p:spPr>
          <a:xfrm>
            <a:off x="3192591"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6">
            <a:extLst>
              <a:ext uri="{FF2B5EF4-FFF2-40B4-BE49-F238E27FC236}">
                <a16:creationId xmlns:a16="http://schemas.microsoft.com/office/drawing/2014/main" id="{36E89292-5993-4845-A723-FE96EB2E2582}"/>
              </a:ext>
            </a:extLst>
          </p:cNvPr>
          <p:cNvSpPr>
            <a:spLocks noGrp="1"/>
          </p:cNvSpPr>
          <p:nvPr>
            <p:ph type="body" sz="quarter" idx="28" hasCustomPrompt="1"/>
          </p:nvPr>
        </p:nvSpPr>
        <p:spPr>
          <a:xfrm>
            <a:off x="3192591"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6" name="Text Placeholder 30">
            <a:extLst>
              <a:ext uri="{FF2B5EF4-FFF2-40B4-BE49-F238E27FC236}">
                <a16:creationId xmlns:a16="http://schemas.microsoft.com/office/drawing/2014/main" id="{DD671EC3-35FD-4142-90E9-E06C8B2204D2}"/>
              </a:ext>
            </a:extLst>
          </p:cNvPr>
          <p:cNvSpPr>
            <a:spLocks noGrp="1"/>
          </p:cNvSpPr>
          <p:nvPr>
            <p:ph type="body" sz="quarter" idx="29" hasCustomPrompt="1"/>
          </p:nvPr>
        </p:nvSpPr>
        <p:spPr>
          <a:xfrm>
            <a:off x="6072437"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ext Placeholder 6">
            <a:extLst>
              <a:ext uri="{FF2B5EF4-FFF2-40B4-BE49-F238E27FC236}">
                <a16:creationId xmlns:a16="http://schemas.microsoft.com/office/drawing/2014/main" id="{CCA813D6-5154-8549-A580-9780EC0B43FF}"/>
              </a:ext>
            </a:extLst>
          </p:cNvPr>
          <p:cNvSpPr>
            <a:spLocks noGrp="1"/>
          </p:cNvSpPr>
          <p:nvPr>
            <p:ph type="body" sz="quarter" idx="30" hasCustomPrompt="1"/>
          </p:nvPr>
        </p:nvSpPr>
        <p:spPr>
          <a:xfrm>
            <a:off x="6072437"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20405836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C0ADA1C-E566-594C-8405-78BFB44D02B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6911" r="26772"/>
          <a:stretch/>
        </p:blipFill>
        <p:spPr>
          <a:xfrm>
            <a:off x="4208745" y="184765"/>
            <a:ext cx="4747118" cy="4772252"/>
          </a:xfrm>
          <a:prstGeom prst="rect">
            <a:avLst/>
          </a:prstGeom>
        </p:spPr>
      </p:pic>
      <p:sp>
        <p:nvSpPr>
          <p:cNvPr id="29" name="Parallelogram 28">
            <a:extLst>
              <a:ext uri="{FF2B5EF4-FFF2-40B4-BE49-F238E27FC236}">
                <a16:creationId xmlns:a16="http://schemas.microsoft.com/office/drawing/2014/main" id="{620A6185-F4B8-7148-BBE0-4B522BF2C8C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a:extLst>
              <a:ext uri="{FF2B5EF4-FFF2-40B4-BE49-F238E27FC236}">
                <a16:creationId xmlns:a16="http://schemas.microsoft.com/office/drawing/2014/main" id="{1B94CA41-43E7-834F-BD19-758AA7C52D26}"/>
              </a:ext>
            </a:extLst>
          </p:cNvPr>
          <p:cNvSpPr/>
          <p:nvPr userDrawn="1"/>
        </p:nvSpPr>
        <p:spPr>
          <a:xfrm>
            <a:off x="-258358" y="1723758"/>
            <a:ext cx="143476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DEMO</a:t>
            </a:r>
          </a:p>
        </p:txBody>
      </p:sp>
      <p:sp>
        <p:nvSpPr>
          <p:cNvPr id="28" name="Freeform 27">
            <a:extLst>
              <a:ext uri="{FF2B5EF4-FFF2-40B4-BE49-F238E27FC236}">
                <a16:creationId xmlns:a16="http://schemas.microsoft.com/office/drawing/2014/main" id="{E74A5F92-11BF-674C-8F77-E24DB9020EED}"/>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72000">
                <a:schemeClr val="accent2"/>
              </a:gs>
            </a:gsLst>
            <a:lin ang="2700000" scaled="0"/>
          </a:gradFill>
          <a:ln w="6694" cap="flat">
            <a:noFill/>
            <a:prstDash val="solid"/>
            <a:miter/>
          </a:ln>
        </p:spPr>
        <p:txBody>
          <a:bodyPr rtlCol="0" anchor="ctr"/>
          <a:lstStyle/>
          <a:p>
            <a:endParaRPr lang="en-US"/>
          </a:p>
        </p:txBody>
      </p:sp>
      <p:sp>
        <p:nvSpPr>
          <p:cNvPr id="31" name="Title 1">
            <a:extLst>
              <a:ext uri="{FF2B5EF4-FFF2-40B4-BE49-F238E27FC236}">
                <a16:creationId xmlns:a16="http://schemas.microsoft.com/office/drawing/2014/main" id="{FFFBB744-009C-854E-A699-8A1FC0750518}"/>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252430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FB0F3A-ECD8-9948-9E64-FAA949EA847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139" r="22224"/>
          <a:stretch/>
        </p:blipFill>
        <p:spPr>
          <a:xfrm>
            <a:off x="4274392" y="207405"/>
            <a:ext cx="4679842" cy="4753213"/>
          </a:xfrm>
          <a:prstGeom prst="rect">
            <a:avLst/>
          </a:prstGeom>
        </p:spPr>
      </p:pic>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AC53DBE6-247B-4842-A76C-BD22086AD53B}"/>
              </a:ext>
            </a:extLst>
          </p:cNvPr>
          <p:cNvSpPr/>
          <p:nvPr userDrawn="1"/>
        </p:nvSpPr>
        <p:spPr>
          <a:xfrm>
            <a:off x="-282974" y="1723758"/>
            <a:ext cx="1490108"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VIDEO</a:t>
            </a:r>
          </a:p>
        </p:txBody>
      </p:sp>
      <p:sp>
        <p:nvSpPr>
          <p:cNvPr id="10" name="Freeform 9">
            <a:extLst>
              <a:ext uri="{FF2B5EF4-FFF2-40B4-BE49-F238E27FC236}">
                <a16:creationId xmlns:a16="http://schemas.microsoft.com/office/drawing/2014/main" id="{9D9B3963-A9ED-E34A-B1E2-6370AD7947E3}"/>
              </a:ext>
            </a:extLst>
          </p:cNvPr>
          <p:cNvSpPr/>
          <p:nvPr userDrawn="1"/>
        </p:nvSpPr>
        <p:spPr>
          <a:xfrm>
            <a:off x="4168979" y="4151716"/>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
        <p:nvSpPr>
          <p:cNvPr id="11" name="Title 1">
            <a:extLst>
              <a:ext uri="{FF2B5EF4-FFF2-40B4-BE49-F238E27FC236}">
                <a16:creationId xmlns:a16="http://schemas.microsoft.com/office/drawing/2014/main" id="{C64B921D-8F01-4544-ACD6-31A2DE783A7A}"/>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4132027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er">
    <p:spTree>
      <p:nvGrpSpPr>
        <p:cNvPr id="1" name=""/>
        <p:cNvGrpSpPr/>
        <p:nvPr/>
      </p:nvGrpSpPr>
      <p:grpSpPr>
        <a:xfrm>
          <a:off x="0" y="0"/>
          <a:ext cx="0" cy="0"/>
          <a:chOff x="0" y="0"/>
          <a:chExt cx="0" cy="0"/>
        </a:xfrm>
      </p:grpSpPr>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75EA66ED-4432-ED4F-85FF-5E948BD754D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7209" r="27716"/>
          <a:stretch/>
        </p:blipFill>
        <p:spPr>
          <a:xfrm>
            <a:off x="4296427" y="195164"/>
            <a:ext cx="4646764" cy="4760446"/>
          </a:xfrm>
          <a:prstGeom prst="rect">
            <a:avLst/>
          </a:prstGeom>
        </p:spPr>
      </p:pic>
      <p:sp>
        <p:nvSpPr>
          <p:cNvPr id="12" name="Parallelogram 11">
            <a:extLst>
              <a:ext uri="{FF2B5EF4-FFF2-40B4-BE49-F238E27FC236}">
                <a16:creationId xmlns:a16="http://schemas.microsoft.com/office/drawing/2014/main" id="{91B2FDC1-5B6E-4D47-9D1E-AFD829209E08}"/>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D7DA88D5-E629-024D-AD9B-B1E455BC237D}"/>
              </a:ext>
            </a:extLst>
          </p:cNvPr>
          <p:cNvSpPr/>
          <p:nvPr userDrawn="1"/>
        </p:nvSpPr>
        <p:spPr>
          <a:xfrm>
            <a:off x="-283385" y="1724273"/>
            <a:ext cx="1961549"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CUSTOMER</a:t>
            </a:r>
          </a:p>
        </p:txBody>
      </p:sp>
      <p:sp>
        <p:nvSpPr>
          <p:cNvPr id="14" name="Freeform 13">
            <a:extLst>
              <a:ext uri="{FF2B5EF4-FFF2-40B4-BE49-F238E27FC236}">
                <a16:creationId xmlns:a16="http://schemas.microsoft.com/office/drawing/2014/main" id="{114E34B3-7EFF-AB44-A9F4-9A3024CDCE0A}"/>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56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34112928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89AEEA-C1DC-7347-9875-A61BF916AEB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2363" r="8255"/>
          <a:stretch/>
        </p:blipFill>
        <p:spPr>
          <a:xfrm>
            <a:off x="190672" y="207332"/>
            <a:ext cx="4230705" cy="4749685"/>
          </a:xfrm>
          <a:prstGeom prst="rect">
            <a:avLst/>
          </a:prstGeom>
        </p:spPr>
      </p:pic>
      <p:sp>
        <p:nvSpPr>
          <p:cNvPr id="10" name="Parallelogram 9">
            <a:extLst>
              <a:ext uri="{FF2B5EF4-FFF2-40B4-BE49-F238E27FC236}">
                <a16:creationId xmlns:a16="http://schemas.microsoft.com/office/drawing/2014/main" id="{ABC0C80B-D5C8-FC41-BE96-8B1AA31E1F83}"/>
              </a:ext>
            </a:extLst>
          </p:cNvPr>
          <p:cNvSpPr/>
          <p:nvPr userDrawn="1"/>
        </p:nvSpPr>
        <p:spPr>
          <a:xfrm rot="10800000">
            <a:off x="3558901"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3">
            <a:extLst>
              <a:ext uri="{FF2B5EF4-FFF2-40B4-BE49-F238E27FC236}">
                <a16:creationId xmlns:a16="http://schemas.microsoft.com/office/drawing/2014/main" id="{6DDE83C1-61E6-1F46-909E-79B7EDAB7409}"/>
              </a:ext>
            </a:extLst>
          </p:cNvPr>
          <p:cNvSpPr txBox="1">
            <a:spLocks/>
          </p:cNvSpPr>
          <p:nvPr userDrawn="1"/>
        </p:nvSpPr>
        <p:spPr>
          <a:xfrm>
            <a:off x="4572239" y="1128474"/>
            <a:ext cx="4008209" cy="64711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800" b="1" dirty="0">
                <a:latin typeface="Segoe UI Semibold" panose="020B0502040204020203" pitchFamily="34" charset="0"/>
                <a:cs typeface="Segoe UI Semibold" panose="020B0502040204020203" pitchFamily="34" charset="0"/>
              </a:rPr>
              <a:t>Thank You</a:t>
            </a:r>
          </a:p>
        </p:txBody>
      </p:sp>
      <p:sp>
        <p:nvSpPr>
          <p:cNvPr id="23" name="Freeform 22">
            <a:extLst>
              <a:ext uri="{FF2B5EF4-FFF2-40B4-BE49-F238E27FC236}">
                <a16:creationId xmlns:a16="http://schemas.microsoft.com/office/drawing/2014/main" id="{E0461544-606A-244A-ABDF-8321447D6B26}"/>
              </a:ext>
            </a:extLst>
          </p:cNvPr>
          <p:cNvSpPr/>
          <p:nvPr userDrawn="1"/>
        </p:nvSpPr>
        <p:spPr>
          <a:xfrm>
            <a:off x="3356496" y="2524099"/>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4555726" y="2530222"/>
            <a:ext cx="3976024" cy="597065"/>
          </a:xfrm>
          <a:prstGeom prst="rect">
            <a:avLst/>
          </a:prstGeom>
        </p:spPr>
        <p:txBody>
          <a:bodyPr/>
          <a:lstStyle>
            <a:lvl1pPr>
              <a:lnSpc>
                <a:spcPct val="100000"/>
              </a:lnSpc>
              <a:defRPr sz="3200" b="0" i="0">
                <a:latin typeface="Segoe UI" panose="020B0502040204020203" pitchFamily="34" charset="0"/>
                <a:cs typeface="Segoe UI" panose="020B0502040204020203" pitchFamily="34" charset="0"/>
              </a:defRPr>
            </a:lvl1pPr>
          </a:lstStyle>
          <a:p>
            <a:r>
              <a:rPr lang="en-US" dirty="0"/>
              <a:t>Speaker name here</a:t>
            </a:r>
          </a:p>
        </p:txBody>
      </p:sp>
      <p:sp>
        <p:nvSpPr>
          <p:cNvPr id="29" name="Text Placeholder 4">
            <a:extLst>
              <a:ext uri="{FF2B5EF4-FFF2-40B4-BE49-F238E27FC236}">
                <a16:creationId xmlns:a16="http://schemas.microsoft.com/office/drawing/2014/main" id="{6A4A374F-35E8-2046-A804-C655B503DEF7}"/>
              </a:ext>
            </a:extLst>
          </p:cNvPr>
          <p:cNvSpPr>
            <a:spLocks noGrp="1"/>
          </p:cNvSpPr>
          <p:nvPr>
            <p:ph type="body" sz="quarter" idx="13" hasCustomPrompt="1"/>
          </p:nvPr>
        </p:nvSpPr>
        <p:spPr>
          <a:xfrm>
            <a:off x="4981641" y="3321487"/>
            <a:ext cx="3598807"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handle</a:t>
            </a:r>
            <a:endParaRPr lang="en-US" dirty="0"/>
          </a:p>
          <a:p>
            <a:pPr lvl="0"/>
            <a:r>
              <a:rPr lang="en-US" dirty="0" err="1"/>
              <a:t>youremail</a:t>
            </a:r>
            <a:r>
              <a:rPr lang="en-US" dirty="0"/>
              <a:t>@.com</a:t>
            </a:r>
          </a:p>
        </p:txBody>
      </p:sp>
    </p:spTree>
    <p:extLst>
      <p:ext uri="{BB962C8B-B14F-4D97-AF65-F5344CB8AC3E}">
        <p14:creationId xmlns:p14="http://schemas.microsoft.com/office/powerpoint/2010/main" val="20773234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45586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4FB3EDC3-1525-4693-92A3-9202BED6AE62}"/>
              </a:ext>
            </a:extLst>
          </p:cNvPr>
          <p:cNvSpPr>
            <a:spLocks noGrp="1"/>
          </p:cNvSpPr>
          <p:nvPr>
            <p:ph type="title"/>
          </p:nvPr>
        </p:nvSpPr>
        <p:spPr>
          <a:xfrm>
            <a:off x="92869" y="58579"/>
            <a:ext cx="8899327" cy="626428"/>
          </a:xfrm>
          <a:prstGeom prst="rect">
            <a:avLst/>
          </a:prstGeom>
        </p:spPr>
        <p:txBody>
          <a:bodyPr vert="horz" lIns="91440" tIns="45720" rIns="91440" bIns="45720" rtlCol="0" anchor="t" anchorCtr="0">
            <a:normAutofit/>
          </a:bodyPr>
          <a:lstStyle/>
          <a:p>
            <a:r>
              <a:rPr lang="en-US" dirty="0"/>
              <a:t>Click to edit Master title style</a:t>
            </a:r>
          </a:p>
        </p:txBody>
      </p:sp>
    </p:spTree>
    <p:extLst>
      <p:ext uri="{BB962C8B-B14F-4D97-AF65-F5344CB8AC3E}">
        <p14:creationId xmlns:p14="http://schemas.microsoft.com/office/powerpoint/2010/main" val="991519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2480FA6-E949-4941-AF58-6707B11200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8041" r="28526"/>
          <a:stretch/>
        </p:blipFill>
        <p:spPr>
          <a:xfrm>
            <a:off x="5834743" y="184350"/>
            <a:ext cx="3108446" cy="4771258"/>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1" name="Graphic 2">
            <a:extLst>
              <a:ext uri="{FF2B5EF4-FFF2-40B4-BE49-F238E27FC236}">
                <a16:creationId xmlns:a16="http://schemas.microsoft.com/office/drawing/2014/main" id="{497A12A5-F278-164A-8AF2-5750CEF14614}"/>
              </a:ext>
            </a:extLst>
          </p:cNvPr>
          <p:cNvSpPr/>
          <p:nvPr userDrawn="1"/>
        </p:nvSpPr>
        <p:spPr>
          <a:xfrm>
            <a:off x="5765762" y="4060506"/>
            <a:ext cx="965280" cy="438977"/>
          </a:xfrm>
          <a:custGeom>
            <a:avLst/>
            <a:gdLst>
              <a:gd name="connsiteX0" fmla="*/ 151954 w 515437"/>
              <a:gd name="connsiteY0" fmla="*/ 240432 h 234404"/>
              <a:gd name="connsiteX1" fmla="*/ 118484 w 515437"/>
              <a:gd name="connsiteY1" fmla="*/ 240432 h 234404"/>
              <a:gd name="connsiteX2" fmla="*/ 72965 w 515437"/>
              <a:gd name="connsiteY2" fmla="*/ 194890 h 234404"/>
              <a:gd name="connsiteX3" fmla="*/ 118484 w 515437"/>
              <a:gd name="connsiteY3" fmla="*/ 149349 h 234404"/>
              <a:gd name="connsiteX4" fmla="*/ 151954 w 515437"/>
              <a:gd name="connsiteY4" fmla="*/ 149349 h 234404"/>
              <a:gd name="connsiteX5" fmla="*/ 151954 w 515437"/>
              <a:gd name="connsiteY5" fmla="*/ 149349 h 234404"/>
              <a:gd name="connsiteX6" fmla="*/ 161325 w 515437"/>
              <a:gd name="connsiteY6" fmla="*/ 149349 h 234404"/>
              <a:gd name="connsiteX7" fmla="*/ 200150 w 515437"/>
              <a:gd name="connsiteY7" fmla="*/ 110505 h 234404"/>
              <a:gd name="connsiteX8" fmla="*/ 200150 w 515437"/>
              <a:gd name="connsiteY8" fmla="*/ 110505 h 234404"/>
              <a:gd name="connsiteX9" fmla="*/ 162664 w 515437"/>
              <a:gd name="connsiteY9" fmla="*/ 71661 h 234404"/>
              <a:gd name="connsiteX10" fmla="*/ 162664 w 515437"/>
              <a:gd name="connsiteY10" fmla="*/ 71661 h 234404"/>
              <a:gd name="connsiteX11" fmla="*/ 161995 w 515437"/>
              <a:gd name="connsiteY11" fmla="*/ 71661 h 234404"/>
              <a:gd name="connsiteX12" fmla="*/ 161325 w 515437"/>
              <a:gd name="connsiteY12" fmla="*/ 71661 h 234404"/>
              <a:gd name="connsiteX13" fmla="*/ 34809 w 515437"/>
              <a:gd name="connsiteY13" fmla="*/ 71661 h 234404"/>
              <a:gd name="connsiteX14" fmla="*/ 0 w 515437"/>
              <a:gd name="connsiteY14" fmla="*/ 36165 h 234404"/>
              <a:gd name="connsiteX15" fmla="*/ 0 w 515437"/>
              <a:gd name="connsiteY15" fmla="*/ 36165 h 234404"/>
              <a:gd name="connsiteX16" fmla="*/ 36148 w 515437"/>
              <a:gd name="connsiteY16" fmla="*/ 0 h 234404"/>
              <a:gd name="connsiteX17" fmla="*/ 318634 w 515437"/>
              <a:gd name="connsiteY17" fmla="*/ 0 h 234404"/>
              <a:gd name="connsiteX18" fmla="*/ 354782 w 515437"/>
              <a:gd name="connsiteY18" fmla="*/ 36165 h 234404"/>
              <a:gd name="connsiteX19" fmla="*/ 354782 w 515437"/>
              <a:gd name="connsiteY19" fmla="*/ 36165 h 234404"/>
              <a:gd name="connsiteX20" fmla="*/ 319973 w 515437"/>
              <a:gd name="connsiteY20" fmla="*/ 71661 h 234404"/>
              <a:gd name="connsiteX21" fmla="*/ 307924 w 515437"/>
              <a:gd name="connsiteY21" fmla="*/ 71661 h 234404"/>
              <a:gd name="connsiteX22" fmla="*/ 307254 w 515437"/>
              <a:gd name="connsiteY22" fmla="*/ 71661 h 234404"/>
              <a:gd name="connsiteX23" fmla="*/ 305916 w 515437"/>
              <a:gd name="connsiteY23" fmla="*/ 71661 h 234404"/>
              <a:gd name="connsiteX24" fmla="*/ 305916 w 515437"/>
              <a:gd name="connsiteY24" fmla="*/ 71661 h 234404"/>
              <a:gd name="connsiteX25" fmla="*/ 269099 w 515437"/>
              <a:gd name="connsiteY25" fmla="*/ 110505 h 234404"/>
              <a:gd name="connsiteX26" fmla="*/ 269099 w 515437"/>
              <a:gd name="connsiteY26" fmla="*/ 110505 h 234404"/>
              <a:gd name="connsiteX27" fmla="*/ 307924 w 515437"/>
              <a:gd name="connsiteY27" fmla="*/ 149349 h 234404"/>
              <a:gd name="connsiteX28" fmla="*/ 317965 w 515437"/>
              <a:gd name="connsiteY28" fmla="*/ 149349 h 234404"/>
              <a:gd name="connsiteX29" fmla="*/ 317965 w 515437"/>
              <a:gd name="connsiteY29" fmla="*/ 149349 h 234404"/>
              <a:gd name="connsiteX30" fmla="*/ 360806 w 515437"/>
              <a:gd name="connsiteY30" fmla="*/ 149349 h 234404"/>
              <a:gd name="connsiteX31" fmla="*/ 379550 w 515437"/>
              <a:gd name="connsiteY31" fmla="*/ 149349 h 234404"/>
              <a:gd name="connsiteX32" fmla="*/ 475943 w 515437"/>
              <a:gd name="connsiteY32" fmla="*/ 149349 h 234404"/>
              <a:gd name="connsiteX33" fmla="*/ 521462 w 515437"/>
              <a:gd name="connsiteY33" fmla="*/ 194890 h 234404"/>
              <a:gd name="connsiteX34" fmla="*/ 475943 w 515437"/>
              <a:gd name="connsiteY34" fmla="*/ 240432 h 234404"/>
              <a:gd name="connsiteX35" fmla="*/ 380888 w 515437"/>
              <a:gd name="connsiteY35" fmla="*/ 240432 h 234404"/>
              <a:gd name="connsiteX36" fmla="*/ 361476 w 515437"/>
              <a:gd name="connsiteY36" fmla="*/ 240432 h 234404"/>
              <a:gd name="connsiteX37" fmla="*/ 345410 w 515437"/>
              <a:gd name="connsiteY37" fmla="*/ 240432 h 234404"/>
              <a:gd name="connsiteX38" fmla="*/ 151954 w 515437"/>
              <a:gd name="connsiteY38" fmla="*/ 240432 h 23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15437" h="234404">
                <a:moveTo>
                  <a:pt x="151954" y="240432"/>
                </a:moveTo>
                <a:lnTo>
                  <a:pt x="118484" y="240432"/>
                </a:lnTo>
                <a:cubicBezTo>
                  <a:pt x="93047" y="240432"/>
                  <a:pt x="72965" y="219670"/>
                  <a:pt x="72965" y="194890"/>
                </a:cubicBezTo>
                <a:cubicBezTo>
                  <a:pt x="72965" y="169441"/>
                  <a:pt x="93716" y="149349"/>
                  <a:pt x="118484" y="149349"/>
                </a:cubicBezTo>
                <a:lnTo>
                  <a:pt x="151954" y="149349"/>
                </a:lnTo>
                <a:cubicBezTo>
                  <a:pt x="151954" y="149349"/>
                  <a:pt x="151954" y="149349"/>
                  <a:pt x="151954" y="149349"/>
                </a:cubicBezTo>
                <a:lnTo>
                  <a:pt x="161325" y="149349"/>
                </a:lnTo>
                <a:cubicBezTo>
                  <a:pt x="182746" y="149349"/>
                  <a:pt x="200150" y="131936"/>
                  <a:pt x="200150" y="110505"/>
                </a:cubicBezTo>
                <a:lnTo>
                  <a:pt x="200150" y="110505"/>
                </a:lnTo>
                <a:cubicBezTo>
                  <a:pt x="200150" y="89744"/>
                  <a:pt x="183415" y="72331"/>
                  <a:pt x="162664" y="71661"/>
                </a:cubicBezTo>
                <a:lnTo>
                  <a:pt x="162664" y="71661"/>
                </a:lnTo>
                <a:lnTo>
                  <a:pt x="161995" y="71661"/>
                </a:lnTo>
                <a:cubicBezTo>
                  <a:pt x="161995" y="71661"/>
                  <a:pt x="161325" y="71661"/>
                  <a:pt x="161325" y="71661"/>
                </a:cubicBezTo>
                <a:lnTo>
                  <a:pt x="34809" y="71661"/>
                </a:lnTo>
                <a:cubicBezTo>
                  <a:pt x="15396" y="70991"/>
                  <a:pt x="0" y="55587"/>
                  <a:pt x="0" y="36165"/>
                </a:cubicBezTo>
                <a:lnTo>
                  <a:pt x="0" y="36165"/>
                </a:lnTo>
                <a:cubicBezTo>
                  <a:pt x="0" y="16074"/>
                  <a:pt x="16066" y="0"/>
                  <a:pt x="36148" y="0"/>
                </a:cubicBezTo>
                <a:lnTo>
                  <a:pt x="318634" y="0"/>
                </a:lnTo>
                <a:cubicBezTo>
                  <a:pt x="338716" y="0"/>
                  <a:pt x="354782" y="16074"/>
                  <a:pt x="354782" y="36165"/>
                </a:cubicBezTo>
                <a:lnTo>
                  <a:pt x="354782" y="36165"/>
                </a:lnTo>
                <a:cubicBezTo>
                  <a:pt x="354782" y="55587"/>
                  <a:pt x="339386" y="71661"/>
                  <a:pt x="319973" y="71661"/>
                </a:cubicBezTo>
                <a:lnTo>
                  <a:pt x="307924" y="71661"/>
                </a:lnTo>
                <a:cubicBezTo>
                  <a:pt x="307924" y="71661"/>
                  <a:pt x="307254" y="71661"/>
                  <a:pt x="307254" y="71661"/>
                </a:cubicBezTo>
                <a:lnTo>
                  <a:pt x="305916" y="71661"/>
                </a:lnTo>
                <a:lnTo>
                  <a:pt x="305916" y="71661"/>
                </a:lnTo>
                <a:cubicBezTo>
                  <a:pt x="285834" y="73000"/>
                  <a:pt x="269099" y="89744"/>
                  <a:pt x="269099" y="110505"/>
                </a:cubicBezTo>
                <a:lnTo>
                  <a:pt x="269099" y="110505"/>
                </a:lnTo>
                <a:cubicBezTo>
                  <a:pt x="269099" y="131936"/>
                  <a:pt x="286503" y="149349"/>
                  <a:pt x="307924" y="149349"/>
                </a:cubicBezTo>
                <a:lnTo>
                  <a:pt x="317965" y="149349"/>
                </a:lnTo>
                <a:cubicBezTo>
                  <a:pt x="317965" y="149349"/>
                  <a:pt x="317965" y="149349"/>
                  <a:pt x="317965" y="149349"/>
                </a:cubicBezTo>
                <a:lnTo>
                  <a:pt x="360806" y="149349"/>
                </a:lnTo>
                <a:lnTo>
                  <a:pt x="379550" y="149349"/>
                </a:lnTo>
                <a:lnTo>
                  <a:pt x="475943" y="149349"/>
                </a:lnTo>
                <a:cubicBezTo>
                  <a:pt x="501380" y="149349"/>
                  <a:pt x="521462" y="170111"/>
                  <a:pt x="521462" y="194890"/>
                </a:cubicBezTo>
                <a:cubicBezTo>
                  <a:pt x="521462" y="220340"/>
                  <a:pt x="500711" y="240432"/>
                  <a:pt x="475943" y="240432"/>
                </a:cubicBezTo>
                <a:lnTo>
                  <a:pt x="380888" y="240432"/>
                </a:lnTo>
                <a:lnTo>
                  <a:pt x="361476" y="240432"/>
                </a:lnTo>
                <a:lnTo>
                  <a:pt x="345410" y="240432"/>
                </a:lnTo>
                <a:lnTo>
                  <a:pt x="151954" y="240432"/>
                </a:lnTo>
                <a:close/>
              </a:path>
            </a:pathLst>
          </a:custGeom>
          <a:gradFill>
            <a:gsLst>
              <a:gs pos="0">
                <a:schemeClr val="accent1"/>
              </a:gs>
              <a:gs pos="76000">
                <a:schemeClr val="accent2"/>
              </a:gs>
            </a:gsLst>
            <a:lin ang="2700000" scaled="0"/>
          </a:gradFill>
          <a:ln w="669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Tree>
    <p:extLst>
      <p:ext uri="{BB962C8B-B14F-4D97-AF65-F5344CB8AC3E}">
        <p14:creationId xmlns:p14="http://schemas.microsoft.com/office/powerpoint/2010/main" val="107126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0247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11/4/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4268928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11/4/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714681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11/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747733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1/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315189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11/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694132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11/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861213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11/4/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977482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11/4/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263247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11/4/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660949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3597B3-E20C-1044-B917-079594B771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5764" r="8244"/>
          <a:stretch/>
        </p:blipFill>
        <p:spPr>
          <a:xfrm>
            <a:off x="5654350" y="182834"/>
            <a:ext cx="3296675" cy="4776314"/>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307758F5-A90E-F74D-A2E8-E0824E9C9130}"/>
              </a:ext>
            </a:extLst>
          </p:cNvPr>
          <p:cNvSpPr/>
          <p:nvPr userDrawn="1"/>
        </p:nvSpPr>
        <p:spPr>
          <a:xfrm>
            <a:off x="5684961" y="3853775"/>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3517655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1/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240728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1/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2648930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1/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3220428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1/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4973451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11/4/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294942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11/4/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6108566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11/4/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1444651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11/4/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6878193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11/4/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911330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11/4/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51046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lence Cell Phone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C1DC34-C3C7-5445-9EF1-200C57002BB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1719" r="17900"/>
          <a:stretch/>
        </p:blipFill>
        <p:spPr>
          <a:xfrm>
            <a:off x="3930416" y="201973"/>
            <a:ext cx="5023816" cy="4758643"/>
          </a:xfrm>
          <a:prstGeom prst="rect">
            <a:avLst/>
          </a:prstGeom>
        </p:spPr>
      </p:pic>
      <p:sp>
        <p:nvSpPr>
          <p:cNvPr id="12" name="Parallelogram 11">
            <a:extLst>
              <a:ext uri="{FF2B5EF4-FFF2-40B4-BE49-F238E27FC236}">
                <a16:creationId xmlns:a16="http://schemas.microsoft.com/office/drawing/2014/main" id="{FBF0EDDB-346E-134D-9527-00CB29377E11}"/>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E44F601-D847-A649-83DF-0D1EBB83586B}"/>
              </a:ext>
            </a:extLst>
          </p:cNvPr>
          <p:cNvGrpSpPr/>
          <p:nvPr userDrawn="1"/>
        </p:nvGrpSpPr>
        <p:grpSpPr>
          <a:xfrm>
            <a:off x="422683" y="1171625"/>
            <a:ext cx="1039075" cy="1039075"/>
            <a:chOff x="425054" y="818275"/>
            <a:chExt cx="1414197" cy="1414197"/>
          </a:xfrm>
        </p:grpSpPr>
        <p:sp>
          <p:nvSpPr>
            <p:cNvPr id="14" name="Oval 13">
              <a:extLst>
                <a:ext uri="{FF2B5EF4-FFF2-40B4-BE49-F238E27FC236}">
                  <a16:creationId xmlns:a16="http://schemas.microsoft.com/office/drawing/2014/main" id="{5459D97B-E0DE-414D-983A-65EFDDAC9448}"/>
                </a:ext>
              </a:extLst>
            </p:cNvPr>
            <p:cNvSpPr/>
            <p:nvPr/>
          </p:nvSpPr>
          <p:spPr>
            <a:xfrm>
              <a:off x="425054" y="818275"/>
              <a:ext cx="1414197" cy="14141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6E0925DA-32A3-5240-931A-B337E84FA3EB}"/>
                </a:ext>
              </a:extLst>
            </p:cNvPr>
            <p:cNvGrpSpPr/>
            <p:nvPr/>
          </p:nvGrpSpPr>
          <p:grpSpPr>
            <a:xfrm>
              <a:off x="889416" y="1069986"/>
              <a:ext cx="484682" cy="930763"/>
              <a:chOff x="889416" y="1069986"/>
              <a:chExt cx="484682" cy="930763"/>
            </a:xfrm>
          </p:grpSpPr>
          <p:sp>
            <p:nvSpPr>
              <p:cNvPr id="17" name="Rounded Rectangle 16">
                <a:extLst>
                  <a:ext uri="{FF2B5EF4-FFF2-40B4-BE49-F238E27FC236}">
                    <a16:creationId xmlns:a16="http://schemas.microsoft.com/office/drawing/2014/main" id="{C9CF25D6-1F1B-9B49-850B-FB27A54F70EE}"/>
                  </a:ext>
                </a:extLst>
              </p:cNvPr>
              <p:cNvSpPr/>
              <p:nvPr/>
            </p:nvSpPr>
            <p:spPr>
              <a:xfrm>
                <a:off x="892418" y="1069986"/>
                <a:ext cx="478678" cy="930763"/>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EF408751-3EDE-994F-9B8B-AF716E0E874B}"/>
                  </a:ext>
                </a:extLst>
              </p:cNvPr>
              <p:cNvCxnSpPr/>
              <p:nvPr/>
            </p:nvCxnSpPr>
            <p:spPr>
              <a:xfrm>
                <a:off x="889416" y="1893757"/>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FC77E72-0337-2140-B47C-4F9B11D712FB}"/>
                  </a:ext>
                </a:extLst>
              </p:cNvPr>
              <p:cNvCxnSpPr/>
              <p:nvPr/>
            </p:nvCxnSpPr>
            <p:spPr>
              <a:xfrm>
                <a:off x="889416" y="1179226"/>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44BEED-A4F1-D440-9A08-FBCBF1012749}"/>
                  </a:ext>
                </a:extLst>
              </p:cNvPr>
              <p:cNvCxnSpPr>
                <a:cxnSpLocks/>
              </p:cNvCxnSpPr>
              <p:nvPr/>
            </p:nvCxnSpPr>
            <p:spPr>
              <a:xfrm>
                <a:off x="1031823" y="1129259"/>
                <a:ext cx="199869"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3073FB7-0225-A44C-8F10-6B1A7862B253}"/>
                  </a:ext>
                </a:extLst>
              </p:cNvPr>
              <p:cNvCxnSpPr>
                <a:cxnSpLocks/>
              </p:cNvCxnSpPr>
              <p:nvPr/>
            </p:nvCxnSpPr>
            <p:spPr>
              <a:xfrm>
                <a:off x="1079291" y="1938728"/>
                <a:ext cx="104933" cy="0"/>
              </a:xfrm>
              <a:prstGeom prst="line">
                <a:avLst/>
              </a:prstGeom>
              <a:ln w="25400"/>
            </p:spPr>
            <p:style>
              <a:lnRef idx="1">
                <a:schemeClr val="accent1"/>
              </a:lnRef>
              <a:fillRef idx="0">
                <a:schemeClr val="accent1"/>
              </a:fillRef>
              <a:effectRef idx="0">
                <a:schemeClr val="accent1"/>
              </a:effectRef>
              <a:fontRef idx="minor">
                <a:schemeClr val="tx1"/>
              </a:fontRef>
            </p:style>
          </p:cxnSp>
        </p:grpSp>
        <p:cxnSp>
          <p:nvCxnSpPr>
            <p:cNvPr id="16" name="Straight Connector 15">
              <a:extLst>
                <a:ext uri="{FF2B5EF4-FFF2-40B4-BE49-F238E27FC236}">
                  <a16:creationId xmlns:a16="http://schemas.microsoft.com/office/drawing/2014/main" id="{8F05E43F-EE51-BC48-8BBD-30158EBA05F0}"/>
                </a:ext>
              </a:extLst>
            </p:cNvPr>
            <p:cNvCxnSpPr>
              <a:stCxn id="14" idx="7"/>
              <a:endCxn id="14" idx="3"/>
            </p:cNvCxnSpPr>
            <p:nvPr/>
          </p:nvCxnSpPr>
          <p:spPr>
            <a:xfrm flipH="1">
              <a:off x="632158" y="1025379"/>
              <a:ext cx="999989" cy="999989"/>
            </a:xfrm>
            <a:prstGeom prst="line">
              <a:avLst/>
            </a:prstGeom>
            <a:ln w="25400"/>
          </p:spPr>
          <p:style>
            <a:lnRef idx="1">
              <a:schemeClr val="accent1"/>
            </a:lnRef>
            <a:fillRef idx="0">
              <a:schemeClr val="accent1"/>
            </a:fillRef>
            <a:effectRef idx="0">
              <a:schemeClr val="accent1"/>
            </a:effectRef>
            <a:fontRef idx="minor">
              <a:schemeClr val="tx1"/>
            </a:fontRef>
          </p:style>
        </p:cxnSp>
      </p:grpSp>
      <p:sp>
        <p:nvSpPr>
          <p:cNvPr id="22" name="Title 3">
            <a:extLst>
              <a:ext uri="{FF2B5EF4-FFF2-40B4-BE49-F238E27FC236}">
                <a16:creationId xmlns:a16="http://schemas.microsoft.com/office/drawing/2014/main" id="{D065EA19-EE47-E341-9F69-B3215335897E}"/>
              </a:ext>
            </a:extLst>
          </p:cNvPr>
          <p:cNvSpPr txBox="1">
            <a:spLocks/>
          </p:cNvSpPr>
          <p:nvPr userDrawn="1"/>
        </p:nvSpPr>
        <p:spPr>
          <a:xfrm>
            <a:off x="291769" y="2571750"/>
            <a:ext cx="4008209" cy="1352488"/>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Please silence cell phones</a:t>
            </a:r>
          </a:p>
        </p:txBody>
      </p:sp>
    </p:spTree>
    <p:extLst>
      <p:ext uri="{BB962C8B-B14F-4D97-AF65-F5344CB8AC3E}">
        <p14:creationId xmlns:p14="http://schemas.microsoft.com/office/powerpoint/2010/main" val="7411312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11/4/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68337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11/4/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952406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11/4/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0573488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11/4/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590908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11/4/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926029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63287" y="151280"/>
            <a:ext cx="8817428" cy="383451"/>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163287" y="891882"/>
            <a:ext cx="8817428" cy="1180301"/>
          </a:xfrm>
        </p:spPr>
        <p:txBody>
          <a:bodyPr/>
          <a:lstStyle>
            <a:lvl1pPr marL="0" indent="0">
              <a:buNone/>
              <a:defRPr>
                <a:solidFill>
                  <a:srgbClr val="000000"/>
                </a:solidFill>
              </a:defRPr>
            </a:lvl1pPr>
            <a:lvl2pPr marL="0" indent="0">
              <a:buFontTx/>
              <a:buNone/>
              <a:defRPr sz="1258">
                <a:solidFill>
                  <a:srgbClr val="000000"/>
                </a:solidFill>
              </a:defRPr>
            </a:lvl2pPr>
            <a:lvl3pPr marL="131675" indent="0">
              <a:buNone/>
              <a:defRPr sz="1125">
                <a:solidFill>
                  <a:srgbClr val="000000"/>
                </a:solidFill>
              </a:defRPr>
            </a:lvl3pPr>
            <a:lvl4pPr marL="263350" indent="0">
              <a:buNone/>
              <a:defRPr>
                <a:solidFill>
                  <a:srgbClr val="000000"/>
                </a:solidFill>
              </a:defRPr>
            </a:lvl4pPr>
            <a:lvl5pPr marL="395024"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9124949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16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1570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218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0424047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321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68" y="1169"/>
                        <a:ext cx="1167" cy="1167"/>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46" y="1984601"/>
            <a:ext cx="3105365" cy="1142451"/>
          </a:xfrm>
          <a:prstGeom prst="rect">
            <a:avLst/>
          </a:prstGeom>
        </p:spPr>
      </p:pic>
    </p:spTree>
    <p:extLst>
      <p:ext uri="{BB962C8B-B14F-4D97-AF65-F5344CB8AC3E}">
        <p14:creationId xmlns:p14="http://schemas.microsoft.com/office/powerpoint/2010/main" val="18313279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423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56071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xplore PASS">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6092B34-0719-954D-BD70-F632853B275F}"/>
              </a:ext>
            </a:extLst>
          </p:cNvPr>
          <p:cNvGrpSpPr/>
          <p:nvPr userDrawn="1"/>
        </p:nvGrpSpPr>
        <p:grpSpPr>
          <a:xfrm>
            <a:off x="3153809" y="182880"/>
            <a:ext cx="5807311" cy="4777740"/>
            <a:chOff x="3153809" y="182880"/>
            <a:chExt cx="5807311" cy="4777740"/>
          </a:xfrm>
          <a:solidFill>
            <a:schemeClr val="bg2">
              <a:lumMod val="95000"/>
            </a:schemeClr>
          </a:solidFill>
        </p:grpSpPr>
        <p:sp>
          <p:nvSpPr>
            <p:cNvPr id="3" name="Parallelogram 2">
              <a:extLst>
                <a:ext uri="{FF2B5EF4-FFF2-40B4-BE49-F238E27FC236}">
                  <a16:creationId xmlns:a16="http://schemas.microsoft.com/office/drawing/2014/main" id="{EC10AB2A-2CD8-8D4F-B676-A00C3E2C3F96}"/>
                </a:ext>
              </a:extLst>
            </p:cNvPr>
            <p:cNvSpPr/>
            <p:nvPr/>
          </p:nvSpPr>
          <p:spPr>
            <a:xfrm>
              <a:off x="3153809" y="182881"/>
              <a:ext cx="4894891" cy="4777739"/>
            </a:xfrm>
            <a:prstGeom prst="parallelogram">
              <a:avLst>
                <a:gd name="adj" fmla="val 1741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2209F51-F439-1D48-847E-86FC79FF4F94}"/>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itle 3">
            <a:extLst>
              <a:ext uri="{FF2B5EF4-FFF2-40B4-BE49-F238E27FC236}">
                <a16:creationId xmlns:a16="http://schemas.microsoft.com/office/drawing/2014/main" id="{9E2A22BE-54A2-DD4C-8D71-BD02476EBACF}"/>
              </a:ext>
            </a:extLst>
          </p:cNvPr>
          <p:cNvSpPr txBox="1">
            <a:spLocks/>
          </p:cNvSpPr>
          <p:nvPr userDrawn="1"/>
        </p:nvSpPr>
        <p:spPr>
          <a:xfrm>
            <a:off x="312745" y="1805286"/>
            <a:ext cx="2883822" cy="86275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2800" dirty="0">
                <a:latin typeface="+mj-lt"/>
                <a:cs typeface="Segoe UI Semibold" panose="020B0502040204020203" pitchFamily="34" charset="0"/>
              </a:rPr>
              <a:t>everything PASS has to offer</a:t>
            </a:r>
          </a:p>
        </p:txBody>
      </p:sp>
      <p:pic>
        <p:nvPicPr>
          <p:cNvPr id="6" name="Picture 5">
            <a:extLst>
              <a:ext uri="{FF2B5EF4-FFF2-40B4-BE49-F238E27FC236}">
                <a16:creationId xmlns:a16="http://schemas.microsoft.com/office/drawing/2014/main" id="{65345A65-674C-9845-94AC-654DF72D78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9569" y="392647"/>
            <a:ext cx="1241920" cy="1241920"/>
          </a:xfrm>
          <a:prstGeom prst="rect">
            <a:avLst/>
          </a:prstGeom>
        </p:spPr>
      </p:pic>
      <p:pic>
        <p:nvPicPr>
          <p:cNvPr id="7" name="Picture 6">
            <a:extLst>
              <a:ext uri="{FF2B5EF4-FFF2-40B4-BE49-F238E27FC236}">
                <a16:creationId xmlns:a16="http://schemas.microsoft.com/office/drawing/2014/main" id="{A3078421-44F5-894B-8ADB-34729C88BC1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5016" y="553003"/>
            <a:ext cx="1005250" cy="1005250"/>
          </a:xfrm>
          <a:prstGeom prst="rect">
            <a:avLst/>
          </a:prstGeom>
        </p:spPr>
      </p:pic>
      <p:pic>
        <p:nvPicPr>
          <p:cNvPr id="8" name="Picture 7">
            <a:extLst>
              <a:ext uri="{FF2B5EF4-FFF2-40B4-BE49-F238E27FC236}">
                <a16:creationId xmlns:a16="http://schemas.microsoft.com/office/drawing/2014/main" id="{0223F339-62FC-DB43-8492-A5BE02F5B1F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447627" y="442642"/>
            <a:ext cx="1241920" cy="1241920"/>
          </a:xfrm>
          <a:prstGeom prst="rect">
            <a:avLst/>
          </a:prstGeom>
        </p:spPr>
      </p:pic>
      <p:pic>
        <p:nvPicPr>
          <p:cNvPr id="9" name="Picture 8">
            <a:extLst>
              <a:ext uri="{FF2B5EF4-FFF2-40B4-BE49-F238E27FC236}">
                <a16:creationId xmlns:a16="http://schemas.microsoft.com/office/drawing/2014/main" id="{25380530-E681-8643-88A9-D8A522E5456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126681" y="2892279"/>
            <a:ext cx="1241920" cy="1241920"/>
          </a:xfrm>
          <a:prstGeom prst="rect">
            <a:avLst/>
          </a:prstGeom>
        </p:spPr>
      </p:pic>
      <p:pic>
        <p:nvPicPr>
          <p:cNvPr id="10" name="Picture 9">
            <a:extLst>
              <a:ext uri="{FF2B5EF4-FFF2-40B4-BE49-F238E27FC236}">
                <a16:creationId xmlns:a16="http://schemas.microsoft.com/office/drawing/2014/main" id="{211DBD8D-AB01-B840-A6C8-69D148B77EA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829569" y="2874933"/>
            <a:ext cx="1241920" cy="1241920"/>
          </a:xfrm>
          <a:prstGeom prst="rect">
            <a:avLst/>
          </a:prstGeom>
        </p:spPr>
      </p:pic>
      <p:pic>
        <p:nvPicPr>
          <p:cNvPr id="11" name="Picture 10">
            <a:extLst>
              <a:ext uri="{FF2B5EF4-FFF2-40B4-BE49-F238E27FC236}">
                <a16:creationId xmlns:a16="http://schemas.microsoft.com/office/drawing/2014/main" id="{0B701307-FEF6-0542-BF6B-42FB871C4A5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682472" y="3179938"/>
            <a:ext cx="772230" cy="702027"/>
          </a:xfrm>
          <a:prstGeom prst="rect">
            <a:avLst/>
          </a:prstGeom>
        </p:spPr>
      </p:pic>
      <p:sp>
        <p:nvSpPr>
          <p:cNvPr id="12" name="Rectangle 11">
            <a:hlinkClick r:id="rId8"/>
            <a:extLst>
              <a:ext uri="{FF2B5EF4-FFF2-40B4-BE49-F238E27FC236}">
                <a16:creationId xmlns:a16="http://schemas.microsoft.com/office/drawing/2014/main" id="{E1C57803-55DC-614F-AED4-976CC1A89A37}"/>
              </a:ext>
            </a:extLst>
          </p:cNvPr>
          <p:cNvSpPr/>
          <p:nvPr userDrawn="1"/>
        </p:nvSpPr>
        <p:spPr>
          <a:xfrm>
            <a:off x="4030553" y="1602678"/>
            <a:ext cx="1434176"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Free online webinar events </a:t>
            </a:r>
          </a:p>
        </p:txBody>
      </p:sp>
      <p:sp>
        <p:nvSpPr>
          <p:cNvPr id="13" name="Rectangle 12">
            <a:hlinkClick r:id="rId9"/>
            <a:extLst>
              <a:ext uri="{FF2B5EF4-FFF2-40B4-BE49-F238E27FC236}">
                <a16:creationId xmlns:a16="http://schemas.microsoft.com/office/drawing/2014/main" id="{BBFD1540-DCEF-A044-B119-2D5A3D1B85FB}"/>
              </a:ext>
            </a:extLst>
          </p:cNvPr>
          <p:cNvSpPr/>
          <p:nvPr userDrawn="1"/>
        </p:nvSpPr>
        <p:spPr>
          <a:xfrm>
            <a:off x="7288472" y="1602678"/>
            <a:ext cx="1560231"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Free 1-day local training events</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4" name="Rectangle 13">
            <a:hlinkClick r:id="rId10"/>
            <a:extLst>
              <a:ext uri="{FF2B5EF4-FFF2-40B4-BE49-F238E27FC236}">
                <a16:creationId xmlns:a16="http://schemas.microsoft.com/office/drawing/2014/main" id="{F6129F24-4FB5-C94C-A658-3D0261ECC267}"/>
              </a:ext>
            </a:extLst>
          </p:cNvPr>
          <p:cNvSpPr/>
          <p:nvPr userDrawn="1"/>
        </p:nvSpPr>
        <p:spPr>
          <a:xfrm>
            <a:off x="5671080" y="1602678"/>
            <a:ext cx="1558898"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Local user groups around the world</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5" name="Rectangle 14">
            <a:hlinkClick r:id="rId11"/>
            <a:extLst>
              <a:ext uri="{FF2B5EF4-FFF2-40B4-BE49-F238E27FC236}">
                <a16:creationId xmlns:a16="http://schemas.microsoft.com/office/drawing/2014/main" id="{CC1EC64C-827D-9F4C-8558-11E8DA8A1F63}"/>
              </a:ext>
            </a:extLst>
          </p:cNvPr>
          <p:cNvSpPr/>
          <p:nvPr userDrawn="1"/>
        </p:nvSpPr>
        <p:spPr>
          <a:xfrm>
            <a:off x="3965179" y="4082268"/>
            <a:ext cx="1564924"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Online special interest user groups </a:t>
            </a:r>
          </a:p>
        </p:txBody>
      </p:sp>
      <p:sp>
        <p:nvSpPr>
          <p:cNvPr id="16" name="Rectangle 15">
            <a:hlinkClick r:id="rId10"/>
            <a:extLst>
              <a:ext uri="{FF2B5EF4-FFF2-40B4-BE49-F238E27FC236}">
                <a16:creationId xmlns:a16="http://schemas.microsoft.com/office/drawing/2014/main" id="{0B4DA287-E94F-F345-9CE3-2271C22DC88A}"/>
              </a:ext>
            </a:extLst>
          </p:cNvPr>
          <p:cNvSpPr/>
          <p:nvPr userDrawn="1"/>
        </p:nvSpPr>
        <p:spPr>
          <a:xfrm>
            <a:off x="5736736"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Business analytics training </a:t>
            </a:r>
          </a:p>
        </p:txBody>
      </p:sp>
      <p:sp>
        <p:nvSpPr>
          <p:cNvPr id="17" name="Rectangle 16">
            <a:hlinkClick r:id="rId10"/>
            <a:extLst>
              <a:ext uri="{FF2B5EF4-FFF2-40B4-BE49-F238E27FC236}">
                <a16:creationId xmlns:a16="http://schemas.microsoft.com/office/drawing/2014/main" id="{D290D108-3A7F-4B4C-9067-AF2BED016EB2}"/>
              </a:ext>
            </a:extLst>
          </p:cNvPr>
          <p:cNvSpPr/>
          <p:nvPr userDrawn="1"/>
        </p:nvSpPr>
        <p:spPr>
          <a:xfrm>
            <a:off x="7354794"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Get involved</a:t>
            </a:r>
          </a:p>
        </p:txBody>
      </p:sp>
      <p:cxnSp>
        <p:nvCxnSpPr>
          <p:cNvPr id="18" name="Straight Connector 17">
            <a:extLst>
              <a:ext uri="{FF2B5EF4-FFF2-40B4-BE49-F238E27FC236}">
                <a16:creationId xmlns:a16="http://schemas.microsoft.com/office/drawing/2014/main" id="{AB833E44-1B81-1B40-AAF3-13C3C5D94FD0}"/>
              </a:ext>
            </a:extLst>
          </p:cNvPr>
          <p:cNvCxnSpPr>
            <a:cxnSpLocks/>
          </p:cNvCxnSpPr>
          <p:nvPr userDrawn="1"/>
        </p:nvCxnSpPr>
        <p:spPr>
          <a:xfrm flipH="1">
            <a:off x="4279249" y="2571750"/>
            <a:ext cx="4175453"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735AAC2-8ACD-A84B-9157-E20A43FE1B95}"/>
              </a:ext>
            </a:extLst>
          </p:cNvPr>
          <p:cNvSpPr/>
          <p:nvPr userDrawn="1"/>
        </p:nvSpPr>
        <p:spPr>
          <a:xfrm>
            <a:off x="326070" y="3053703"/>
            <a:ext cx="2823400" cy="1169551"/>
          </a:xfrm>
          <a:prstGeom prst="rect">
            <a:avLst/>
          </a:prstGeom>
        </p:spPr>
        <p:txBody>
          <a:bodyPr wrap="square">
            <a:spAutoFit/>
          </a:bodyPr>
          <a:lstStyle/>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Free Online Resources </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Newsletters</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PASS.org</a:t>
            </a:r>
          </a:p>
        </p:txBody>
      </p:sp>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09324"/>
            <a:ext cx="2821288" cy="699210"/>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Explore</a:t>
            </a:r>
          </a:p>
        </p:txBody>
      </p:sp>
    </p:spTree>
    <p:extLst>
      <p:ext uri="{BB962C8B-B14F-4D97-AF65-F5344CB8AC3E}">
        <p14:creationId xmlns:p14="http://schemas.microsoft.com/office/powerpoint/2010/main" val="4236141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525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2006048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681496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4454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3285" y="151280"/>
            <a:ext cx="5878286" cy="397055"/>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6041572" y="151281"/>
            <a:ext cx="2939143" cy="233795"/>
          </a:xfrm>
        </p:spPr>
        <p:txBody>
          <a:bodyPr vert="horz" wrap="square" lIns="127337" tIns="79586" rIns="127337" bIns="79586" rtlCol="0" anchor="t">
            <a:noAutofit/>
          </a:bodyPr>
          <a:lstStyle>
            <a:lvl1pPr marL="0" indent="0" algn="r">
              <a:buFontTx/>
              <a:buNone/>
              <a:defRPr lang="en-US" sz="1059"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145175979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3"/>
            <a:ext cx="8741309" cy="1419363"/>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308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29" y="4628713"/>
            <a:ext cx="8740142" cy="296463"/>
          </a:xfrm>
          <a:prstGeom prst="rect">
            <a:avLst/>
          </a:prstGeom>
          <a:noFill/>
          <a:ln w="12700">
            <a:noFill/>
            <a:miter lim="800000"/>
            <a:headEnd type="none" w="sm" len="sm"/>
            <a:tailEnd type="none" w="sm" len="sm"/>
          </a:ln>
          <a:effectLst/>
        </p:spPr>
        <p:txBody>
          <a:bodyPr vert="horz" wrap="square" lIns="134444" tIns="107555" rIns="134444" bIns="107555" numCol="1" anchor="t" anchorCtr="0" compatLnSpc="1">
            <a:prstTxWarp prst="textNoShape">
              <a:avLst/>
            </a:prstTxWarp>
            <a:spAutoFit/>
          </a:bodyPr>
          <a:lstStyle/>
          <a:p>
            <a:pPr defTabSz="685311" eaLnBrk="0" hangingPunct="0"/>
            <a:r>
              <a:rPr lang="en-US" sz="515"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337655" y="2312740"/>
            <a:ext cx="2420347" cy="519044"/>
          </a:xfrm>
          <a:prstGeom prst="rect">
            <a:avLst/>
          </a:prstGeom>
        </p:spPr>
      </p:pic>
    </p:spTree>
    <p:extLst>
      <p:ext uri="{BB962C8B-B14F-4D97-AF65-F5344CB8AC3E}">
        <p14:creationId xmlns:p14="http://schemas.microsoft.com/office/powerpoint/2010/main" val="6669926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4"/>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7821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9144000" cy="924674"/>
          </a:xfrm>
        </p:spPr>
        <p:txBody>
          <a:bodyPr lIns="393192" tIns="393192" bIns="91440">
            <a:normAutofit/>
          </a:bodyPr>
          <a:lstStyle>
            <a:lvl1pPr marL="0" indent="0">
              <a:buNone/>
              <a:defRPr sz="33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42743416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valuations">
    <p:bg>
      <p:bgPr>
        <a:solidFill>
          <a:schemeClr val="bg2"/>
        </a:solidFill>
        <a:effectLst/>
      </p:bgPr>
    </p:bg>
    <p:spTree>
      <p:nvGrpSpPr>
        <p:cNvPr id="1" name=""/>
        <p:cNvGrpSpPr/>
        <p:nvPr/>
      </p:nvGrpSpPr>
      <p:grpSpPr>
        <a:xfrm>
          <a:off x="0" y="0"/>
          <a:ext cx="0" cy="0"/>
          <a:chOff x="0" y="0"/>
          <a:chExt cx="0" cy="0"/>
        </a:xfrm>
      </p:grpSpPr>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38584"/>
            <a:ext cx="3419348" cy="699210"/>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Session</a:t>
            </a:r>
            <a:br>
              <a:rPr lang="en-US" sz="4000" b="1" dirty="0">
                <a:latin typeface="Segoe UI Semibold" panose="020B0502040204020203" pitchFamily="34" charset="0"/>
                <a:cs typeface="Segoe UI Semibold" panose="020B0502040204020203" pitchFamily="34" charset="0"/>
              </a:rPr>
            </a:br>
            <a:r>
              <a:rPr lang="en-US" sz="4000" b="1" dirty="0">
                <a:latin typeface="Segoe UI Semibold" panose="020B0502040204020203" pitchFamily="34" charset="0"/>
                <a:cs typeface="Segoe UI Semibold" panose="020B0502040204020203" pitchFamily="34" charset="0"/>
              </a:rPr>
              <a:t>Evaluations</a:t>
            </a:r>
          </a:p>
        </p:txBody>
      </p:sp>
      <p:grpSp>
        <p:nvGrpSpPr>
          <p:cNvPr id="22" name="Group 21">
            <a:extLst>
              <a:ext uri="{FF2B5EF4-FFF2-40B4-BE49-F238E27FC236}">
                <a16:creationId xmlns:a16="http://schemas.microsoft.com/office/drawing/2014/main" id="{57B14AB4-4262-C54B-885F-1B61E258B589}"/>
              </a:ext>
            </a:extLst>
          </p:cNvPr>
          <p:cNvGrpSpPr/>
          <p:nvPr userDrawn="1"/>
        </p:nvGrpSpPr>
        <p:grpSpPr>
          <a:xfrm>
            <a:off x="3153809" y="182880"/>
            <a:ext cx="5807311" cy="4777740"/>
            <a:chOff x="3153809" y="182880"/>
            <a:chExt cx="5807311" cy="4777740"/>
          </a:xfrm>
        </p:grpSpPr>
        <p:sp>
          <p:nvSpPr>
            <p:cNvPr id="23" name="Parallelogram 22">
              <a:extLst>
                <a:ext uri="{FF2B5EF4-FFF2-40B4-BE49-F238E27FC236}">
                  <a16:creationId xmlns:a16="http://schemas.microsoft.com/office/drawing/2014/main" id="{A1F61C5D-41E9-D740-BAB6-DA7A08B6A889}"/>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3B87A85B-41B3-E344-8802-F4917AC11A73}"/>
                </a:ext>
              </a:extLst>
            </p:cNvPr>
            <p:cNvSpPr/>
            <p:nvPr/>
          </p:nvSpPr>
          <p:spPr>
            <a:xfrm flipH="1">
              <a:off x="6318988" y="182880"/>
              <a:ext cx="264213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Freeform 24">
            <a:extLst>
              <a:ext uri="{FF2B5EF4-FFF2-40B4-BE49-F238E27FC236}">
                <a16:creationId xmlns:a16="http://schemas.microsoft.com/office/drawing/2014/main" id="{023FFCC5-4FB1-0646-89EC-D046651CD125}"/>
              </a:ext>
            </a:extLst>
          </p:cNvPr>
          <p:cNvSpPr/>
          <p:nvPr userDrawn="1"/>
        </p:nvSpPr>
        <p:spPr>
          <a:xfrm rot="10800000">
            <a:off x="3654125" y="893039"/>
            <a:ext cx="1010517" cy="75177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26" name="Rectangle 25">
            <a:extLst>
              <a:ext uri="{FF2B5EF4-FFF2-40B4-BE49-F238E27FC236}">
                <a16:creationId xmlns:a16="http://schemas.microsoft.com/office/drawing/2014/main" id="{05D20110-1473-6A47-B35B-32EA8334DAE1}"/>
              </a:ext>
            </a:extLst>
          </p:cNvPr>
          <p:cNvSpPr/>
          <p:nvPr userDrawn="1"/>
        </p:nvSpPr>
        <p:spPr>
          <a:xfrm>
            <a:off x="300218" y="3042004"/>
            <a:ext cx="3006252" cy="1015663"/>
          </a:xfrm>
          <a:prstGeom prst="rect">
            <a:avLst/>
          </a:prstGeom>
        </p:spPr>
        <p:txBody>
          <a:bodyPr wrap="square">
            <a:spAutoFit/>
          </a:bodyPr>
          <a:lstStyle/>
          <a:p>
            <a:pPr lvl="0">
              <a:defRPr/>
            </a:pPr>
            <a:r>
              <a:rPr lang="en-US" sz="2000" b="1" spc="20" dirty="0">
                <a:solidFill>
                  <a:schemeClr val="accent2"/>
                </a:solidFill>
                <a:latin typeface="Segoe UI Semibold" panose="020B0502040204020203" pitchFamily="34" charset="0"/>
                <a:cs typeface="Segoe UI Semibold" panose="020B0502040204020203" pitchFamily="34" charset="0"/>
              </a:rPr>
              <a:t>Submit by 5pm Friday, November 15th to </a:t>
            </a:r>
            <a:br>
              <a:rPr lang="en-US" sz="2000" b="1" spc="20" dirty="0">
                <a:solidFill>
                  <a:schemeClr val="accent2"/>
                </a:solidFill>
                <a:latin typeface="Segoe UI Semibold" panose="020B0502040204020203" pitchFamily="34" charset="0"/>
                <a:cs typeface="Segoe UI Semibold" panose="020B0502040204020203" pitchFamily="34" charset="0"/>
              </a:rPr>
            </a:br>
            <a:r>
              <a:rPr lang="en-US" sz="2000" b="1" spc="20" dirty="0">
                <a:solidFill>
                  <a:schemeClr val="accent2"/>
                </a:solidFill>
                <a:latin typeface="Segoe UI Semibold" panose="020B0502040204020203" pitchFamily="34" charset="0"/>
                <a:cs typeface="Segoe UI Semibold" panose="020B0502040204020203" pitchFamily="34" charset="0"/>
              </a:rPr>
              <a:t>win prizes. </a:t>
            </a:r>
          </a:p>
        </p:txBody>
      </p:sp>
      <p:sp>
        <p:nvSpPr>
          <p:cNvPr id="27" name="Rectangle 26">
            <a:extLst>
              <a:ext uri="{FF2B5EF4-FFF2-40B4-BE49-F238E27FC236}">
                <a16:creationId xmlns:a16="http://schemas.microsoft.com/office/drawing/2014/main" id="{31FC9049-52E3-BA41-B830-21D000C5A89A}"/>
              </a:ext>
            </a:extLst>
          </p:cNvPr>
          <p:cNvSpPr/>
          <p:nvPr userDrawn="1"/>
        </p:nvSpPr>
        <p:spPr>
          <a:xfrm>
            <a:off x="4860469" y="2912854"/>
            <a:ext cx="3642801" cy="646331"/>
          </a:xfrm>
          <a:prstGeom prst="rect">
            <a:avLst/>
          </a:prstGeom>
          <a:noFill/>
        </p:spPr>
        <p:txBody>
          <a:bodyPr wrap="square">
            <a:spAutoFit/>
          </a:bodyPr>
          <a:lstStyle/>
          <a:p>
            <a:pPr algn="l"/>
            <a:r>
              <a:rPr lang="en-US" sz="1800" dirty="0">
                <a:solidFill>
                  <a:schemeClr val="bg2"/>
                </a:solidFill>
              </a:rPr>
              <a:t>Download the </a:t>
            </a:r>
            <a:r>
              <a:rPr lang="en-US" sz="1800" dirty="0" err="1">
                <a:solidFill>
                  <a:schemeClr val="bg2"/>
                </a:solidFill>
              </a:rPr>
              <a:t>GuideBook</a:t>
            </a:r>
            <a:r>
              <a:rPr lang="en-US" sz="1800" dirty="0">
                <a:solidFill>
                  <a:schemeClr val="bg2"/>
                </a:solidFill>
              </a:rPr>
              <a:t> App and search: PASS Summit 2019</a:t>
            </a:r>
          </a:p>
        </p:txBody>
      </p:sp>
      <p:sp>
        <p:nvSpPr>
          <p:cNvPr id="28" name="Rectangle 27">
            <a:extLst>
              <a:ext uri="{FF2B5EF4-FFF2-40B4-BE49-F238E27FC236}">
                <a16:creationId xmlns:a16="http://schemas.microsoft.com/office/drawing/2014/main" id="{2BC9677B-236E-8F4B-85A2-65EE9335594D}"/>
              </a:ext>
            </a:extLst>
          </p:cNvPr>
          <p:cNvSpPr/>
          <p:nvPr userDrawn="1"/>
        </p:nvSpPr>
        <p:spPr>
          <a:xfrm>
            <a:off x="4860469" y="3766084"/>
            <a:ext cx="3698642" cy="646331"/>
          </a:xfrm>
          <a:prstGeom prst="rect">
            <a:avLst/>
          </a:prstGeom>
          <a:noFill/>
        </p:spPr>
        <p:txBody>
          <a:bodyPr wrap="square">
            <a:spAutoFit/>
          </a:bodyPr>
          <a:lstStyle/>
          <a:p>
            <a:pPr algn="l"/>
            <a:r>
              <a:rPr lang="en-US" sz="1800" dirty="0">
                <a:solidFill>
                  <a:schemeClr val="bg2"/>
                </a:solidFill>
              </a:rPr>
              <a:t>Follow the QR code link on session signage</a:t>
            </a:r>
          </a:p>
        </p:txBody>
      </p:sp>
      <p:sp>
        <p:nvSpPr>
          <p:cNvPr id="29" name="Rectangle 28">
            <a:extLst>
              <a:ext uri="{FF2B5EF4-FFF2-40B4-BE49-F238E27FC236}">
                <a16:creationId xmlns:a16="http://schemas.microsoft.com/office/drawing/2014/main" id="{7ACE00E9-A76C-2142-B7EB-628A8902C8A0}"/>
              </a:ext>
            </a:extLst>
          </p:cNvPr>
          <p:cNvSpPr/>
          <p:nvPr userDrawn="1"/>
        </p:nvSpPr>
        <p:spPr>
          <a:xfrm>
            <a:off x="4860469" y="2187788"/>
            <a:ext cx="2877051" cy="369332"/>
          </a:xfrm>
          <a:prstGeom prst="rect">
            <a:avLst/>
          </a:prstGeom>
          <a:noFill/>
        </p:spPr>
        <p:txBody>
          <a:bodyPr wrap="square">
            <a:spAutoFit/>
          </a:bodyPr>
          <a:lstStyle/>
          <a:p>
            <a:pPr algn="l"/>
            <a:r>
              <a:rPr lang="en-US" sz="1800" dirty="0">
                <a:solidFill>
                  <a:schemeClr val="bg2"/>
                </a:solidFill>
              </a:rPr>
              <a:t>Go to PASSsummit.com</a:t>
            </a:r>
          </a:p>
        </p:txBody>
      </p:sp>
      <p:grpSp>
        <p:nvGrpSpPr>
          <p:cNvPr id="30" name="Group 29">
            <a:extLst>
              <a:ext uri="{FF2B5EF4-FFF2-40B4-BE49-F238E27FC236}">
                <a16:creationId xmlns:a16="http://schemas.microsoft.com/office/drawing/2014/main" id="{2F31BBEC-67B0-504C-AD37-BEFC12D70FC5}"/>
              </a:ext>
            </a:extLst>
          </p:cNvPr>
          <p:cNvGrpSpPr/>
          <p:nvPr userDrawn="1"/>
        </p:nvGrpSpPr>
        <p:grpSpPr>
          <a:xfrm>
            <a:off x="4174398" y="2084423"/>
            <a:ext cx="573141" cy="573141"/>
            <a:chOff x="3933410" y="1933595"/>
            <a:chExt cx="573141" cy="573141"/>
          </a:xfrm>
        </p:grpSpPr>
        <p:sp>
          <p:nvSpPr>
            <p:cNvPr id="31" name="Oval 30">
              <a:extLst>
                <a:ext uri="{FF2B5EF4-FFF2-40B4-BE49-F238E27FC236}">
                  <a16:creationId xmlns:a16="http://schemas.microsoft.com/office/drawing/2014/main" id="{60E04198-69A2-AB47-92F5-30CE191EAA5A}"/>
                </a:ext>
              </a:extLst>
            </p:cNvPr>
            <p:cNvSpPr/>
            <p:nvPr/>
          </p:nvSpPr>
          <p:spPr>
            <a:xfrm>
              <a:off x="3933410" y="1933595"/>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Shape 2683">
              <a:extLst>
                <a:ext uri="{FF2B5EF4-FFF2-40B4-BE49-F238E27FC236}">
                  <a16:creationId xmlns:a16="http://schemas.microsoft.com/office/drawing/2014/main" id="{76C8D58D-132E-2848-82B3-EA99238DAFF0}"/>
                </a:ext>
              </a:extLst>
            </p:cNvPr>
            <p:cNvSpPr/>
            <p:nvPr/>
          </p:nvSpPr>
          <p:spPr>
            <a:xfrm>
              <a:off x="4127945" y="2060689"/>
              <a:ext cx="235922" cy="326946"/>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3" name="Group 32">
            <a:extLst>
              <a:ext uri="{FF2B5EF4-FFF2-40B4-BE49-F238E27FC236}">
                <a16:creationId xmlns:a16="http://schemas.microsoft.com/office/drawing/2014/main" id="{E767A487-0371-EA48-8506-C81E63DF8C5B}"/>
              </a:ext>
            </a:extLst>
          </p:cNvPr>
          <p:cNvGrpSpPr/>
          <p:nvPr userDrawn="1"/>
        </p:nvGrpSpPr>
        <p:grpSpPr>
          <a:xfrm>
            <a:off x="4174398" y="2970583"/>
            <a:ext cx="573141" cy="573141"/>
            <a:chOff x="3933410" y="2669656"/>
            <a:chExt cx="573141" cy="573141"/>
          </a:xfrm>
        </p:grpSpPr>
        <p:sp>
          <p:nvSpPr>
            <p:cNvPr id="34" name="Oval 33">
              <a:extLst>
                <a:ext uri="{FF2B5EF4-FFF2-40B4-BE49-F238E27FC236}">
                  <a16:creationId xmlns:a16="http://schemas.microsoft.com/office/drawing/2014/main" id="{F57120D1-AB88-354F-AE5B-804BE69390F6}"/>
                </a:ext>
              </a:extLst>
            </p:cNvPr>
            <p:cNvSpPr/>
            <p:nvPr/>
          </p:nvSpPr>
          <p:spPr>
            <a:xfrm>
              <a:off x="3933410" y="266965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Shape 2847">
              <a:extLst>
                <a:ext uri="{FF2B5EF4-FFF2-40B4-BE49-F238E27FC236}">
                  <a16:creationId xmlns:a16="http://schemas.microsoft.com/office/drawing/2014/main" id="{7624E5C2-42FF-2A46-9DEC-5559F03536A9}"/>
                </a:ext>
              </a:extLst>
            </p:cNvPr>
            <p:cNvSpPr/>
            <p:nvPr/>
          </p:nvSpPr>
          <p:spPr>
            <a:xfrm>
              <a:off x="4077267" y="2820968"/>
              <a:ext cx="283471" cy="28347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6" name="Group 35">
            <a:extLst>
              <a:ext uri="{FF2B5EF4-FFF2-40B4-BE49-F238E27FC236}">
                <a16:creationId xmlns:a16="http://schemas.microsoft.com/office/drawing/2014/main" id="{1A84A1F6-DD42-0B43-8505-FDB877FA78BF}"/>
              </a:ext>
            </a:extLst>
          </p:cNvPr>
          <p:cNvGrpSpPr/>
          <p:nvPr userDrawn="1"/>
        </p:nvGrpSpPr>
        <p:grpSpPr>
          <a:xfrm>
            <a:off x="4174398" y="3820168"/>
            <a:ext cx="573141" cy="573141"/>
            <a:chOff x="3933410" y="3421996"/>
            <a:chExt cx="573141" cy="573141"/>
          </a:xfrm>
        </p:grpSpPr>
        <p:sp>
          <p:nvSpPr>
            <p:cNvPr id="37" name="Oval 36">
              <a:extLst>
                <a:ext uri="{FF2B5EF4-FFF2-40B4-BE49-F238E27FC236}">
                  <a16:creationId xmlns:a16="http://schemas.microsoft.com/office/drawing/2014/main" id="{DAD6F350-EAC1-FF42-9C91-3C8D12AFAD81}"/>
                </a:ext>
              </a:extLst>
            </p:cNvPr>
            <p:cNvSpPr/>
            <p:nvPr/>
          </p:nvSpPr>
          <p:spPr>
            <a:xfrm>
              <a:off x="3933410" y="342199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Shape 2643">
              <a:extLst>
                <a:ext uri="{FF2B5EF4-FFF2-40B4-BE49-F238E27FC236}">
                  <a16:creationId xmlns:a16="http://schemas.microsoft.com/office/drawing/2014/main" id="{A2A5F5A0-F625-9243-9E3F-8F65E1FAB1A3}"/>
                </a:ext>
              </a:extLst>
            </p:cNvPr>
            <p:cNvSpPr/>
            <p:nvPr/>
          </p:nvSpPr>
          <p:spPr>
            <a:xfrm>
              <a:off x="4138105" y="3552995"/>
              <a:ext cx="167157" cy="306455"/>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39" name="Rounded Rectangle 38">
            <a:extLst>
              <a:ext uri="{FF2B5EF4-FFF2-40B4-BE49-F238E27FC236}">
                <a16:creationId xmlns:a16="http://schemas.microsoft.com/office/drawing/2014/main" id="{AEB58C0D-06AA-5749-A1E0-A4E1CA8E78C9}"/>
              </a:ext>
            </a:extLst>
          </p:cNvPr>
          <p:cNvSpPr/>
          <p:nvPr userDrawn="1"/>
        </p:nvSpPr>
        <p:spPr>
          <a:xfrm>
            <a:off x="4159384" y="1268927"/>
            <a:ext cx="239900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spc="300" dirty="0">
                <a:solidFill>
                  <a:schemeClr val="bg2"/>
                </a:solidFill>
              </a:rPr>
              <a:t>3 WAYS TO ACCESS</a:t>
            </a:r>
          </a:p>
        </p:txBody>
      </p:sp>
      <p:pic>
        <p:nvPicPr>
          <p:cNvPr id="4" name="Picture 3" descr="A picture containing object&#10;&#10;Description automatically generated">
            <a:extLst>
              <a:ext uri="{FF2B5EF4-FFF2-40B4-BE49-F238E27FC236}">
                <a16:creationId xmlns:a16="http://schemas.microsoft.com/office/drawing/2014/main" id="{07FEE15C-D736-4C58-9914-3DDEC81241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24428" y="262410"/>
            <a:ext cx="1481318" cy="1325779"/>
          </a:xfrm>
          <a:prstGeom prst="rect">
            <a:avLst/>
          </a:prstGeom>
        </p:spPr>
      </p:pic>
      <p:pic>
        <p:nvPicPr>
          <p:cNvPr id="42" name="Picture 41">
            <a:extLst>
              <a:ext uri="{FF2B5EF4-FFF2-40B4-BE49-F238E27FC236}">
                <a16:creationId xmlns:a16="http://schemas.microsoft.com/office/drawing/2014/main" id="{63E1FC64-E3DE-4EA5-A5F7-B933374654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0218" y="380027"/>
            <a:ext cx="792781" cy="792781"/>
          </a:xfrm>
          <a:prstGeom prst="rect">
            <a:avLst/>
          </a:prstGeom>
        </p:spPr>
      </p:pic>
    </p:spTree>
    <p:extLst>
      <p:ext uri="{BB962C8B-B14F-4D97-AF65-F5344CB8AC3E}">
        <p14:creationId xmlns:p14="http://schemas.microsoft.com/office/powerpoint/2010/main" val="4125900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eaker Slid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4C2DC2A-7AD3-6F4B-9793-4D46F9B9B04A}"/>
              </a:ext>
            </a:extLst>
          </p:cNvPr>
          <p:cNvGrpSpPr/>
          <p:nvPr userDrawn="1"/>
        </p:nvGrpSpPr>
        <p:grpSpPr>
          <a:xfrm>
            <a:off x="4572000" y="182880"/>
            <a:ext cx="4389120" cy="4777740"/>
            <a:chOff x="4572000" y="182880"/>
            <a:chExt cx="4389120" cy="4777740"/>
          </a:xfrm>
          <a:solidFill>
            <a:schemeClr val="bg2">
              <a:lumMod val="95000"/>
            </a:schemeClr>
          </a:solidFill>
        </p:grpSpPr>
        <p:sp>
          <p:nvSpPr>
            <p:cNvPr id="24" name="Parallelogram 23">
              <a:extLst>
                <a:ext uri="{FF2B5EF4-FFF2-40B4-BE49-F238E27FC236}">
                  <a16:creationId xmlns:a16="http://schemas.microsoft.com/office/drawing/2014/main" id="{15719CD6-287E-7D46-B37C-232F9862A08E}"/>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6866752-5609-3E49-AD8F-EEFDD00C0097}"/>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Picture Placeholder 2">
            <a:extLst>
              <a:ext uri="{FF2B5EF4-FFF2-40B4-BE49-F238E27FC236}">
                <a16:creationId xmlns:a16="http://schemas.microsoft.com/office/drawing/2014/main" id="{CD971758-2E52-4942-A1B8-B4035CEF862D}"/>
              </a:ext>
            </a:extLst>
          </p:cNvPr>
          <p:cNvSpPr>
            <a:spLocks noGrp="1"/>
          </p:cNvSpPr>
          <p:nvPr>
            <p:ph type="pic" sz="quarter" idx="10" hasCustomPrompt="1"/>
          </p:nvPr>
        </p:nvSpPr>
        <p:spPr>
          <a:xfrm>
            <a:off x="350838" y="385763"/>
            <a:ext cx="1443037" cy="1443037"/>
          </a:xfrm>
          <a:prstGeom prst="ellipse">
            <a:avLst/>
          </a:prstGeom>
          <a:solidFill>
            <a:schemeClr val="bg1"/>
          </a:solidFill>
        </p:spPr>
        <p:txBody>
          <a:bodyPr anchor="ctr"/>
          <a:lstStyle>
            <a:lvl1pPr algn="ctr">
              <a:defRPr sz="1050">
                <a:solidFill>
                  <a:schemeClr val="bg2"/>
                </a:solidFill>
              </a:defRPr>
            </a:lvl1pPr>
          </a:lstStyle>
          <a:p>
            <a:r>
              <a:rPr lang="en-US" dirty="0"/>
              <a:t>PLACE YOUR PHOTO HERE</a:t>
            </a:r>
          </a:p>
        </p:txBody>
      </p:sp>
      <p:sp>
        <p:nvSpPr>
          <p:cNvPr id="50" name="Title 1">
            <a:extLst>
              <a:ext uri="{FF2B5EF4-FFF2-40B4-BE49-F238E27FC236}">
                <a16:creationId xmlns:a16="http://schemas.microsoft.com/office/drawing/2014/main" id="{3D2AFCB0-B95D-F84C-91FE-5AA4A5FE4111}"/>
              </a:ext>
            </a:extLst>
          </p:cNvPr>
          <p:cNvSpPr>
            <a:spLocks noGrp="1"/>
          </p:cNvSpPr>
          <p:nvPr>
            <p:ph type="title" hasCustomPrompt="1"/>
          </p:nvPr>
        </p:nvSpPr>
        <p:spPr>
          <a:xfrm>
            <a:off x="291769" y="2005872"/>
            <a:ext cx="4083892" cy="447416"/>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peaker Name</a:t>
            </a:r>
          </a:p>
        </p:txBody>
      </p:sp>
      <p:sp>
        <p:nvSpPr>
          <p:cNvPr id="52" name="Text Placeholder 4">
            <a:extLst>
              <a:ext uri="{FF2B5EF4-FFF2-40B4-BE49-F238E27FC236}">
                <a16:creationId xmlns:a16="http://schemas.microsoft.com/office/drawing/2014/main" id="{4914BB13-04BF-404C-AA9E-28E69E1D6E27}"/>
              </a:ext>
            </a:extLst>
          </p:cNvPr>
          <p:cNvSpPr>
            <a:spLocks noGrp="1"/>
          </p:cNvSpPr>
          <p:nvPr>
            <p:ph type="body" sz="quarter" idx="11" hasCustomPrompt="1"/>
          </p:nvPr>
        </p:nvSpPr>
        <p:spPr>
          <a:xfrm>
            <a:off x="291769" y="2555550"/>
            <a:ext cx="4077744" cy="774700"/>
          </a:xfrm>
          <a:prstGeom prst="rect">
            <a:avLst/>
          </a:prstGeom>
        </p:spPr>
        <p:txBody>
          <a:bodyPr/>
          <a:lstStyle>
            <a:lvl1pPr>
              <a:lnSpc>
                <a:spcPct val="100000"/>
              </a:lnSpc>
              <a:defRPr sz="2400" b="1" i="0">
                <a:solidFill>
                  <a:schemeClr val="accent2"/>
                </a:solidFill>
                <a:latin typeface="Segoe UI Semibold" panose="020B0502040204020203" pitchFamily="34" charset="0"/>
                <a:cs typeface="Segoe UI Semibold" panose="020B0502040204020203" pitchFamily="34" charset="0"/>
              </a:defRPr>
            </a:lvl1pPr>
          </a:lstStyle>
          <a:p>
            <a:pPr lvl="0"/>
            <a:r>
              <a:rPr lang="en-US" dirty="0"/>
              <a:t>Title</a:t>
            </a:r>
            <a:br>
              <a:rPr lang="en-US" dirty="0"/>
            </a:br>
            <a:r>
              <a:rPr lang="en-US" dirty="0"/>
              <a:t>Company</a:t>
            </a:r>
          </a:p>
        </p:txBody>
      </p:sp>
      <p:sp>
        <p:nvSpPr>
          <p:cNvPr id="53" name="Text Placeholder 4">
            <a:extLst>
              <a:ext uri="{FF2B5EF4-FFF2-40B4-BE49-F238E27FC236}">
                <a16:creationId xmlns:a16="http://schemas.microsoft.com/office/drawing/2014/main" id="{F242CE12-E6F8-964F-9232-CEBB0225A8EA}"/>
              </a:ext>
            </a:extLst>
          </p:cNvPr>
          <p:cNvSpPr>
            <a:spLocks noGrp="1"/>
          </p:cNvSpPr>
          <p:nvPr>
            <p:ph type="body" sz="quarter" idx="12" hasCustomPrompt="1"/>
          </p:nvPr>
        </p:nvSpPr>
        <p:spPr>
          <a:xfrm>
            <a:off x="718103" y="3598578"/>
            <a:ext cx="3651410"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name</a:t>
            </a:r>
            <a:endParaRPr lang="en-US" dirty="0"/>
          </a:p>
          <a:p>
            <a:pPr lvl="0"/>
            <a:r>
              <a:rPr lang="en-US" dirty="0"/>
              <a:t>@</a:t>
            </a:r>
            <a:r>
              <a:rPr lang="en-US" dirty="0" err="1"/>
              <a:t>yourhandle</a:t>
            </a:r>
            <a:endParaRPr lang="en-US" dirty="0"/>
          </a:p>
          <a:p>
            <a:pPr lvl="0"/>
            <a:r>
              <a:rPr lang="en-US" dirty="0" err="1"/>
              <a:t>yourname</a:t>
            </a:r>
            <a:endParaRPr lang="en-US" dirty="0"/>
          </a:p>
        </p:txBody>
      </p:sp>
      <p:sp>
        <p:nvSpPr>
          <p:cNvPr id="61" name="Text Placeholder 6">
            <a:extLst>
              <a:ext uri="{FF2B5EF4-FFF2-40B4-BE49-F238E27FC236}">
                <a16:creationId xmlns:a16="http://schemas.microsoft.com/office/drawing/2014/main" id="{4C9BAD48-11ED-1C45-8E0B-00EE221E2613}"/>
              </a:ext>
            </a:extLst>
          </p:cNvPr>
          <p:cNvSpPr>
            <a:spLocks noGrp="1"/>
          </p:cNvSpPr>
          <p:nvPr>
            <p:ph type="body" sz="quarter" idx="15"/>
          </p:nvPr>
        </p:nvSpPr>
        <p:spPr>
          <a:xfrm>
            <a:off x="5629481" y="27509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
        <p:nvSpPr>
          <p:cNvPr id="62" name="Text Placeholder 6">
            <a:extLst>
              <a:ext uri="{FF2B5EF4-FFF2-40B4-BE49-F238E27FC236}">
                <a16:creationId xmlns:a16="http://schemas.microsoft.com/office/drawing/2014/main" id="{E3F1CDDB-E2E2-5E44-A257-9D44C51E2CC4}"/>
              </a:ext>
            </a:extLst>
          </p:cNvPr>
          <p:cNvSpPr>
            <a:spLocks noGrp="1"/>
          </p:cNvSpPr>
          <p:nvPr>
            <p:ph type="body" sz="quarter" idx="16"/>
          </p:nvPr>
        </p:nvSpPr>
        <p:spPr>
          <a:xfrm>
            <a:off x="5629481" y="5856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Tree>
    <p:extLst>
      <p:ext uri="{BB962C8B-B14F-4D97-AF65-F5344CB8AC3E}">
        <p14:creationId xmlns:p14="http://schemas.microsoft.com/office/powerpoint/2010/main" val="1038429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0282442C-BE09-DB46-99F0-F415A3B2793A}"/>
              </a:ext>
            </a:extLst>
          </p:cNvPr>
          <p:cNvGrpSpPr/>
          <p:nvPr userDrawn="1"/>
        </p:nvGrpSpPr>
        <p:grpSpPr>
          <a:xfrm>
            <a:off x="1902459" y="182880"/>
            <a:ext cx="7058661" cy="4777740"/>
            <a:chOff x="3153809" y="182880"/>
            <a:chExt cx="7058661" cy="4777740"/>
          </a:xfrm>
        </p:grpSpPr>
        <p:sp>
          <p:nvSpPr>
            <p:cNvPr id="14" name="Parallelogram 13">
              <a:extLst>
                <a:ext uri="{FF2B5EF4-FFF2-40B4-BE49-F238E27FC236}">
                  <a16:creationId xmlns:a16="http://schemas.microsoft.com/office/drawing/2014/main" id="{84F7E35A-5865-724F-A4DB-B5398C9A9264}"/>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F6D6DE4-01A7-9D45-BACE-FE599BCDC8AE}"/>
                </a:ext>
              </a:extLst>
            </p:cNvPr>
            <p:cNvSpPr/>
            <p:nvPr/>
          </p:nvSpPr>
          <p:spPr>
            <a:xfrm flipH="1">
              <a:off x="6318988" y="182880"/>
              <a:ext cx="389348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2131099" cy="960878"/>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Title here</a:t>
            </a:r>
          </a:p>
        </p:txBody>
      </p:sp>
      <p:sp>
        <p:nvSpPr>
          <p:cNvPr id="12" name="Text Placeholder 11">
            <a:extLst>
              <a:ext uri="{FF2B5EF4-FFF2-40B4-BE49-F238E27FC236}">
                <a16:creationId xmlns:a16="http://schemas.microsoft.com/office/drawing/2014/main" id="{F64A4F44-F1FB-FC4A-B23B-359AF4D18A6D}"/>
              </a:ext>
            </a:extLst>
          </p:cNvPr>
          <p:cNvSpPr>
            <a:spLocks noGrp="1"/>
          </p:cNvSpPr>
          <p:nvPr>
            <p:ph type="body" sz="quarter" idx="10"/>
          </p:nvPr>
        </p:nvSpPr>
        <p:spPr>
          <a:xfrm>
            <a:off x="3073570" y="715437"/>
            <a:ext cx="5497512" cy="3902075"/>
          </a:xfrm>
          <a:prstGeom prst="rect">
            <a:avLst/>
          </a:prstGeom>
        </p:spPr>
        <p:txBody>
          <a:bodyPr/>
          <a:lstStyle>
            <a:lvl1pPr marL="342900" indent="-342900" algn="l" defTabSz="914400" rtl="0" eaLnBrk="1" latinLnBrk="0" hangingPunct="1">
              <a:spcBef>
                <a:spcPts val="0"/>
              </a:spcBef>
              <a:spcAft>
                <a:spcPts val="1600"/>
              </a:spcAft>
              <a:buClr>
                <a:schemeClr val="accent1"/>
              </a:buClr>
              <a:buFont typeface="+mj-lt"/>
              <a:buAutoNum type="arabicPeriod"/>
              <a:defRPr lang="en-US" sz="2400" kern="1200" dirty="0" smtClean="0">
                <a:solidFill>
                  <a:schemeClr val="bg2"/>
                </a:solidFill>
                <a:latin typeface="+mn-lt"/>
                <a:ea typeface="+mn-ea"/>
                <a:cs typeface="+mn-cs"/>
              </a:defRPr>
            </a:lvl1pPr>
            <a:lvl2pPr marL="457200" indent="-457200">
              <a:spcBef>
                <a:spcPts val="0"/>
              </a:spcBef>
              <a:spcAft>
                <a:spcPts val="1600"/>
              </a:spcAft>
              <a:buFont typeface="+mj-lt"/>
              <a:buAutoNum type="arabicPeriod"/>
              <a:defRPr/>
            </a:lvl2pPr>
          </a:lstStyle>
          <a:p>
            <a:pPr lvl="0"/>
            <a:r>
              <a:rPr lang="en-US" dirty="0"/>
              <a:t>Click to edit Master text styles</a:t>
            </a:r>
          </a:p>
        </p:txBody>
      </p:sp>
    </p:spTree>
    <p:extLst>
      <p:ext uri="{BB962C8B-B14F-4D97-AF65-F5344CB8AC3E}">
        <p14:creationId xmlns:p14="http://schemas.microsoft.com/office/powerpoint/2010/main" val="34695132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666133-B261-8846-94EF-A8061DB2282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1571" r="19477" b="8517"/>
          <a:stretch/>
        </p:blipFill>
        <p:spPr>
          <a:xfrm>
            <a:off x="4359729" y="202012"/>
            <a:ext cx="4596134" cy="4755005"/>
          </a:xfrm>
          <a:prstGeom prst="rect">
            <a:avLst/>
          </a:prstGeom>
        </p:spPr>
      </p:pic>
      <p:sp>
        <p:nvSpPr>
          <p:cNvPr id="4" name="Parallelogram 3">
            <a:extLst>
              <a:ext uri="{FF2B5EF4-FFF2-40B4-BE49-F238E27FC236}">
                <a16:creationId xmlns:a16="http://schemas.microsoft.com/office/drawing/2014/main" id="{AE7BA9EE-E981-FD49-945F-E00CC157B77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E3BBEE66-B951-1F4E-8D8F-354A19077B4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736" y="-446212"/>
            <a:ext cx="2706136" cy="2706136"/>
          </a:xfrm>
          <a:prstGeom prst="rect">
            <a:avLst/>
          </a:prstGeom>
        </p:spPr>
      </p:pic>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291769" y="2579514"/>
            <a:ext cx="4046985" cy="1567656"/>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Section title</a:t>
            </a:r>
            <a:br>
              <a:rPr lang="en-US" dirty="0"/>
            </a:br>
            <a:r>
              <a:rPr lang="en-US" dirty="0"/>
              <a:t>goes here</a:t>
            </a:r>
          </a:p>
        </p:txBody>
      </p:sp>
    </p:spTree>
    <p:extLst>
      <p:ext uri="{BB962C8B-B14F-4D97-AF65-F5344CB8AC3E}">
        <p14:creationId xmlns:p14="http://schemas.microsoft.com/office/powerpoint/2010/main" val="2770348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theme" Target="../theme/theme3.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5178DF-0BC1-CB40-926D-B10DA482A96C}"/>
              </a:ext>
            </a:extLst>
          </p:cNvPr>
          <p:cNvPicPr>
            <a:picLocks noChangeAspect="1"/>
          </p:cNvPicPr>
          <p:nvPr userDrawn="1"/>
        </p:nvPicPr>
        <p:blipFill rotWithShape="1">
          <a:blip r:embed="rId24"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4065379441"/>
      </p:ext>
    </p:extLst>
  </p:cSld>
  <p:clrMap bg1="lt1" tx1="dk1" bg2="lt2" tx2="dk2" accent1="accent1" accent2="accent2" accent3="accent3" accent4="accent4" accent5="accent5" accent6="accent6" hlink="hlink" folHlink="folHlink"/>
  <p:sldLayoutIdLst>
    <p:sldLayoutId id="2147483712" r:id="rId1"/>
    <p:sldLayoutId id="2147483711" r:id="rId2"/>
    <p:sldLayoutId id="2147483713" r:id="rId3"/>
    <p:sldLayoutId id="2147483715" r:id="rId4"/>
    <p:sldLayoutId id="2147483716" r:id="rId5"/>
    <p:sldLayoutId id="2147483717" r:id="rId6"/>
    <p:sldLayoutId id="2147483718" r:id="rId7"/>
    <p:sldLayoutId id="2147483714" r:id="rId8"/>
    <p:sldLayoutId id="2147483705" r:id="rId9"/>
    <p:sldLayoutId id="2147483691" r:id="rId10"/>
    <p:sldLayoutId id="2147483692" r:id="rId11"/>
    <p:sldLayoutId id="2147483697" r:id="rId12"/>
    <p:sldLayoutId id="2147483678" r:id="rId13"/>
    <p:sldLayoutId id="2147483719" r:id="rId14"/>
    <p:sldLayoutId id="2147483720" r:id="rId15"/>
    <p:sldLayoutId id="2147483721" r:id="rId16"/>
    <p:sldLayoutId id="2147483722" r:id="rId17"/>
    <p:sldLayoutId id="2147483688" r:id="rId18"/>
    <p:sldLayoutId id="2147483723" r:id="rId19"/>
    <p:sldLayoutId id="2147483724" r:id="rId20"/>
    <p:sldLayoutId id="2147483725" r:id="rId21"/>
    <p:sldLayoutId id="2147483764" r:id="rId22"/>
  </p:sldLayoutIdLst>
  <p:hf hdr="0" ftr="0" dt="0"/>
  <p:txStyles>
    <p:title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p:titleStyle>
    <p:bodyStyle>
      <a:lvl1pPr marL="0" indent="0" algn="l" defTabSz="914400" rtl="0" eaLnBrk="1" latinLnBrk="0" hangingPunct="1">
        <a:spcBef>
          <a:spcPct val="20000"/>
        </a:spcBef>
        <a:buClr>
          <a:schemeClr val="accent3"/>
        </a:buClr>
        <a:buFont typeface="Arial"/>
        <a:buNone/>
        <a:defRPr sz="2400" b="0" i="0" kern="1200">
          <a:solidFill>
            <a:schemeClr val="tx1"/>
          </a:solidFill>
          <a:latin typeface="Segoe UI Semilight" panose="020B0402040204020203" pitchFamily="34" charset="0"/>
          <a:ea typeface="+mn-ea"/>
          <a:cs typeface="Segoe UI Semilight" panose="020B04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4408BB5-1956-4009-9820-4D5D8E345588}" type="datetimeFigureOut">
              <a:rPr lang="en-US" smtClean="0"/>
              <a:t>11/4/2019</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57276024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229853" y="1"/>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49DD7E7-E789-47CD-8BD9-FD6FF69BE563}" type="datetimeFigureOut">
              <a:rPr lang="en-US" smtClean="0"/>
              <a:t>11/4/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193005082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hfleitas/seattle2019"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0.xml"/><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91.xml"/><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92.xml"/><Relationship Id="rId1" Type="http://schemas.openxmlformats.org/officeDocument/2006/relationships/slideLayout" Target="../slideLayouts/slideLayout18.xml"/></Relationships>
</file>

<file path=ppt/slides/_rels/slide10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93.xml"/><Relationship Id="rId1" Type="http://schemas.openxmlformats.org/officeDocument/2006/relationships/slideLayout" Target="../slideLayouts/slideLayout18.xml"/></Relationships>
</file>

<file path=ppt/slides/_rels/slide104.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94.xml"/><Relationship Id="rId1" Type="http://schemas.openxmlformats.org/officeDocument/2006/relationships/slideLayout" Target="../slideLayouts/slideLayout18.xml"/></Relationships>
</file>

<file path=ppt/slides/_rels/slide105.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95.xml"/><Relationship Id="rId1" Type="http://schemas.openxmlformats.org/officeDocument/2006/relationships/slideLayout" Target="../slideLayouts/slideLayout18.xml"/></Relationships>
</file>

<file path=ppt/slides/_rels/slide10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96.xml"/><Relationship Id="rId1" Type="http://schemas.openxmlformats.org/officeDocument/2006/relationships/slideLayout" Target="../slideLayouts/slideLayout18.xml"/></Relationships>
</file>

<file path=ppt/slides/_rels/slide107.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97.xml"/><Relationship Id="rId1" Type="http://schemas.openxmlformats.org/officeDocument/2006/relationships/slideLayout" Target="../slideLayouts/slideLayout18.xml"/></Relationships>
</file>

<file path=ppt/slides/_rels/slide108.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98.xml"/><Relationship Id="rId1" Type="http://schemas.openxmlformats.org/officeDocument/2006/relationships/slideLayout" Target="../slideLayouts/slideLayout18.xml"/></Relationships>
</file>

<file path=ppt/slides/_rels/slide109.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0.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99.xml"/><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00.xml"/><Relationship Id="rId1" Type="http://schemas.openxmlformats.org/officeDocument/2006/relationships/slideLayout" Target="../slideLayouts/slideLayout18.xml"/></Relationships>
</file>

<file path=ppt/slides/_rels/slide112.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01.xml"/><Relationship Id="rId1" Type="http://schemas.openxmlformats.org/officeDocument/2006/relationships/slideLayout" Target="../slideLayouts/slideLayout18.xml"/></Relationships>
</file>

<file path=ppt/slides/_rels/slide113.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2.xml"/><Relationship Id="rId1" Type="http://schemas.openxmlformats.org/officeDocument/2006/relationships/slideLayout" Target="../slideLayouts/slideLayout18.xml"/></Relationships>
</file>

<file path=ppt/slides/_rels/slide114.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03.xml"/><Relationship Id="rId1" Type="http://schemas.openxmlformats.org/officeDocument/2006/relationships/slideLayout" Target="../slideLayouts/slideLayout18.xml"/></Relationships>
</file>

<file path=ppt/slides/_rels/slide11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04.xml"/><Relationship Id="rId1" Type="http://schemas.openxmlformats.org/officeDocument/2006/relationships/slideLayout" Target="../slideLayouts/slideLayout18.xml"/></Relationships>
</file>

<file path=ppt/slides/_rels/slide116.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17.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05.xml"/><Relationship Id="rId1" Type="http://schemas.openxmlformats.org/officeDocument/2006/relationships/slideLayout" Target="../slideLayouts/slideLayout18.xml"/></Relationships>
</file>

<file path=ppt/slides/_rels/slide118.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06.xml"/><Relationship Id="rId1" Type="http://schemas.openxmlformats.org/officeDocument/2006/relationships/slideLayout" Target="../slideLayouts/slideLayout18.xml"/></Relationships>
</file>

<file path=ppt/slides/_rels/slide119.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07.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120.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08.xml"/><Relationship Id="rId1" Type="http://schemas.openxmlformats.org/officeDocument/2006/relationships/slideLayout" Target="../slideLayouts/slideLayout18.xml"/></Relationships>
</file>

<file path=ppt/slides/_rels/slide121.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09.xml"/><Relationship Id="rId1" Type="http://schemas.openxmlformats.org/officeDocument/2006/relationships/slideLayout" Target="../slideLayouts/slideLayout18.xml"/></Relationships>
</file>

<file path=ppt/slides/_rels/slide122.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10.xml"/><Relationship Id="rId1" Type="http://schemas.openxmlformats.org/officeDocument/2006/relationships/slideLayout" Target="../slideLayouts/slideLayout18.xml"/></Relationships>
</file>

<file path=ppt/slides/_rels/slide12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11.xml"/><Relationship Id="rId1" Type="http://schemas.openxmlformats.org/officeDocument/2006/relationships/slideLayout" Target="../slideLayouts/slideLayout18.xml"/></Relationships>
</file>

<file path=ppt/slides/_rels/slide124.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12.xml"/><Relationship Id="rId1" Type="http://schemas.openxmlformats.org/officeDocument/2006/relationships/slideLayout" Target="../slideLayouts/slideLayout18.xml"/></Relationships>
</file>

<file path=ppt/slides/_rels/slide125.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13.xml"/><Relationship Id="rId1" Type="http://schemas.openxmlformats.org/officeDocument/2006/relationships/slideLayout" Target="../slideLayouts/slideLayout18.xml"/></Relationships>
</file>

<file path=ppt/slides/_rels/slide126.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14.xml"/><Relationship Id="rId1" Type="http://schemas.openxmlformats.org/officeDocument/2006/relationships/slideLayout" Target="../slideLayouts/slideLayout18.xml"/></Relationships>
</file>

<file path=ppt/slides/_rels/slide127.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15.xml"/><Relationship Id="rId1" Type="http://schemas.openxmlformats.org/officeDocument/2006/relationships/slideLayout" Target="../slideLayouts/slideLayout18.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9.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1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40.emf"/></Relationships>
</file>

<file path=ppt/slides/_rels/slide130.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17.xml"/><Relationship Id="rId1" Type="http://schemas.openxmlformats.org/officeDocument/2006/relationships/slideLayout" Target="../slideLayouts/slideLayout18.xml"/><Relationship Id="rId5" Type="http://schemas.openxmlformats.org/officeDocument/2006/relationships/image" Target="../media/image181.svg"/><Relationship Id="rId4" Type="http://schemas.openxmlformats.org/officeDocument/2006/relationships/image" Target="../media/image180.png"/></Relationships>
</file>

<file path=ppt/slides/_rels/slide131.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18.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3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19.xml"/><Relationship Id="rId1" Type="http://schemas.openxmlformats.org/officeDocument/2006/relationships/slideLayout" Target="../slideLayouts/slideLayout18.xml"/></Relationships>
</file>

<file path=ppt/slides/_rels/slide133.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20.xml"/><Relationship Id="rId1" Type="http://schemas.openxmlformats.org/officeDocument/2006/relationships/slideLayout" Target="../slideLayouts/slideLayout18.xml"/></Relationships>
</file>

<file path=ppt/slides/_rels/slide134.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21.xml"/><Relationship Id="rId1" Type="http://schemas.openxmlformats.org/officeDocument/2006/relationships/slideLayout" Target="../slideLayouts/slideLayout18.xml"/></Relationships>
</file>

<file path=ppt/slides/_rels/slide135.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22.xml"/><Relationship Id="rId1" Type="http://schemas.openxmlformats.org/officeDocument/2006/relationships/slideLayout" Target="../slideLayouts/slideLayout18.xml"/></Relationships>
</file>

<file path=ppt/slides/_rels/slide136.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23.xml"/><Relationship Id="rId1" Type="http://schemas.openxmlformats.org/officeDocument/2006/relationships/slideLayout" Target="../slideLayouts/slideLayout18.xml"/></Relationships>
</file>

<file path=ppt/slides/_rels/slide137.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24.xml"/><Relationship Id="rId1" Type="http://schemas.openxmlformats.org/officeDocument/2006/relationships/slideLayout" Target="../slideLayouts/slideLayout18.xml"/></Relationships>
</file>

<file path=ppt/slides/_rels/slide138.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25.xml"/><Relationship Id="rId1" Type="http://schemas.openxmlformats.org/officeDocument/2006/relationships/slideLayout" Target="../slideLayouts/slideLayout18.xml"/></Relationships>
</file>

<file path=ppt/slides/_rels/slide139.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26.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40.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27.xml"/><Relationship Id="rId1" Type="http://schemas.openxmlformats.org/officeDocument/2006/relationships/slideLayout" Target="../slideLayouts/slideLayout18.xml"/></Relationships>
</file>

<file path=ppt/slides/_rels/slide141.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28.xml"/><Relationship Id="rId1" Type="http://schemas.openxmlformats.org/officeDocument/2006/relationships/slideLayout" Target="../slideLayouts/slideLayout18.xml"/></Relationships>
</file>

<file path=ppt/slides/_rels/slide142.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29.xml"/><Relationship Id="rId1" Type="http://schemas.openxmlformats.org/officeDocument/2006/relationships/slideLayout" Target="../slideLayouts/slideLayout18.xml"/></Relationships>
</file>

<file path=ppt/slides/_rels/slide14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30.xml"/><Relationship Id="rId1" Type="http://schemas.openxmlformats.org/officeDocument/2006/relationships/slideLayout" Target="../slideLayouts/slideLayout18.xml"/><Relationship Id="rId4" Type="http://schemas.openxmlformats.org/officeDocument/2006/relationships/image" Target="../media/image195.png"/></Relationships>
</file>

<file path=ppt/slides/_rels/slide144.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31.xml"/><Relationship Id="rId1" Type="http://schemas.openxmlformats.org/officeDocument/2006/relationships/slideLayout" Target="../slideLayouts/slideLayout18.xml"/></Relationships>
</file>

<file path=ppt/slides/_rels/slide14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46.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32.xml"/><Relationship Id="rId1" Type="http://schemas.openxmlformats.org/officeDocument/2006/relationships/slideLayout" Target="../slideLayouts/slideLayout18.xml"/></Relationships>
</file>

<file path=ppt/slides/_rels/slide147.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33.xml"/><Relationship Id="rId1" Type="http://schemas.openxmlformats.org/officeDocument/2006/relationships/slideLayout" Target="../slideLayouts/slideLayout18.xml"/></Relationships>
</file>

<file path=ppt/slides/_rels/slide148.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34.xml"/><Relationship Id="rId1" Type="http://schemas.openxmlformats.org/officeDocument/2006/relationships/slideLayout" Target="../slideLayouts/slideLayout18.xml"/></Relationships>
</file>

<file path=ppt/slides/_rels/slide149.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3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29.xml"/><Relationship Id="rId5" Type="http://schemas.openxmlformats.org/officeDocument/2006/relationships/image" Target="../media/image44.gif"/><Relationship Id="rId4" Type="http://schemas.openxmlformats.org/officeDocument/2006/relationships/image" Target="../media/image43.png"/></Relationships>
</file>

<file path=ppt/slides/_rels/slide150.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3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1.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3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2.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38.xml"/><Relationship Id="rId1" Type="http://schemas.openxmlformats.org/officeDocument/2006/relationships/slideLayout" Target="../slideLayouts/slideLayout18.xml"/></Relationships>
</file>

<file path=ppt/slides/_rels/slide153.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39.xml"/><Relationship Id="rId1" Type="http://schemas.openxmlformats.org/officeDocument/2006/relationships/slideLayout" Target="../slideLayouts/slideLayout18.xml"/></Relationships>
</file>

<file path=ppt/slides/_rels/slide154.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40.xml"/><Relationship Id="rId1" Type="http://schemas.openxmlformats.org/officeDocument/2006/relationships/slideLayout" Target="../slideLayouts/slideLayout18.xml"/></Relationships>
</file>

<file path=ppt/slides/_rels/slide155.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41.xml"/><Relationship Id="rId1" Type="http://schemas.openxmlformats.org/officeDocument/2006/relationships/slideLayout" Target="../slideLayouts/slideLayout18.xml"/></Relationships>
</file>

<file path=ppt/slides/_rels/slide156.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42.xml"/><Relationship Id="rId1" Type="http://schemas.openxmlformats.org/officeDocument/2006/relationships/slideLayout" Target="../slideLayouts/slideLayout18.xml"/></Relationships>
</file>

<file path=ppt/slides/_rels/slide157.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43.xml"/><Relationship Id="rId1" Type="http://schemas.openxmlformats.org/officeDocument/2006/relationships/slideLayout" Target="../slideLayouts/slideLayout18.xml"/></Relationships>
</file>

<file path=ppt/slides/_rels/slide158.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44.xml"/><Relationship Id="rId1" Type="http://schemas.openxmlformats.org/officeDocument/2006/relationships/slideLayout" Target="../slideLayouts/slideLayout18.xml"/></Relationships>
</file>

<file path=ppt/slides/_rels/slide159.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45.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60.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46.xml"/><Relationship Id="rId1" Type="http://schemas.openxmlformats.org/officeDocument/2006/relationships/slideLayout" Target="../slideLayouts/slideLayout18.xml"/></Relationships>
</file>

<file path=ppt/slides/_rels/slide161.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147.xml"/><Relationship Id="rId1" Type="http://schemas.openxmlformats.org/officeDocument/2006/relationships/slideLayout" Target="../slideLayouts/slideLayout18.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3.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48.xml"/><Relationship Id="rId1" Type="http://schemas.openxmlformats.org/officeDocument/2006/relationships/slideLayout" Target="../slideLayouts/slideLayout18.xml"/></Relationships>
</file>

<file path=ppt/slides/_rels/slide164.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49.xml"/><Relationship Id="rId1" Type="http://schemas.openxmlformats.org/officeDocument/2006/relationships/slideLayout" Target="../slideLayouts/slideLayout18.xml"/><Relationship Id="rId4" Type="http://schemas.openxmlformats.org/officeDocument/2006/relationships/image" Target="../media/image215.png"/></Relationships>
</file>

<file path=ppt/slides/_rels/slide16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6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0.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17.png"/></Relationships>
</file>

<file path=ppt/slides/_rels/slide167.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16.png"/><Relationship Id="rId7" Type="http://schemas.openxmlformats.org/officeDocument/2006/relationships/image" Target="../media/image221.png"/><Relationship Id="rId2" Type="http://schemas.openxmlformats.org/officeDocument/2006/relationships/notesSlide" Target="../notesSlides/notesSlide151.xml"/><Relationship Id="rId1" Type="http://schemas.openxmlformats.org/officeDocument/2006/relationships/slideLayout" Target="../slideLayouts/slideLayout18.xml"/><Relationship Id="rId6" Type="http://schemas.openxmlformats.org/officeDocument/2006/relationships/image" Target="../media/image220.png"/><Relationship Id="rId5" Type="http://schemas.openxmlformats.org/officeDocument/2006/relationships/image" Target="../media/image219.png"/><Relationship Id="rId4" Type="http://schemas.openxmlformats.org/officeDocument/2006/relationships/image" Target="../media/image218.png"/></Relationships>
</file>

<file path=ppt/slides/_rels/slide16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2.xml"/><Relationship Id="rId1" Type="http://schemas.openxmlformats.org/officeDocument/2006/relationships/slideLayout" Target="../slideLayouts/slideLayout18.xml"/><Relationship Id="rId6" Type="http://schemas.openxmlformats.org/officeDocument/2006/relationships/image" Target="../media/image223.png"/><Relationship Id="rId5" Type="http://schemas.openxmlformats.org/officeDocument/2006/relationships/image" Target="../media/image219.png"/><Relationship Id="rId4" Type="http://schemas.openxmlformats.org/officeDocument/2006/relationships/image" Target="../media/image218.png"/></Relationships>
</file>

<file path=ppt/slides/_rels/slide169.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0.xml"/><Relationship Id="rId1" Type="http://schemas.openxmlformats.org/officeDocument/2006/relationships/slideLayout" Target="../slideLayouts/slideLayout29.xml"/><Relationship Id="rId4" Type="http://schemas.openxmlformats.org/officeDocument/2006/relationships/image" Target="../media/image46.png"/></Relationships>
</file>

<file path=ppt/slides/_rels/slide170.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19.png"/><Relationship Id="rId2" Type="http://schemas.openxmlformats.org/officeDocument/2006/relationships/notesSlide" Target="../notesSlides/notesSlide153.xml"/><Relationship Id="rId1" Type="http://schemas.openxmlformats.org/officeDocument/2006/relationships/slideLayout" Target="../slideLayouts/slideLayout18.xml"/><Relationship Id="rId6" Type="http://schemas.openxmlformats.org/officeDocument/2006/relationships/image" Target="../media/image218.png"/><Relationship Id="rId5" Type="http://schemas.openxmlformats.org/officeDocument/2006/relationships/image" Target="../media/image225.png"/><Relationship Id="rId4" Type="http://schemas.openxmlformats.org/officeDocument/2006/relationships/image" Target="../media/image224.png"/></Relationships>
</file>

<file path=ppt/slides/_rels/slide17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4.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5.png"/></Relationships>
</file>

<file path=ppt/slides/_rels/slide17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5.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6.png"/></Relationships>
</file>

<file path=ppt/slides/_rels/slide17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6.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7.png"/></Relationships>
</file>

<file path=ppt/slides/_rels/slide17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7.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8.png"/></Relationships>
</file>

<file path=ppt/slides/_rels/slide175.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8.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9.png"/></Relationships>
</file>

<file path=ppt/slides/_rels/slide17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9.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0.png"/></Relationships>
</file>

<file path=ppt/slides/_rels/slide177.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0.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1.png"/></Relationships>
</file>

<file path=ppt/slides/_rels/slide17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1.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2.png"/></Relationships>
</file>

<file path=ppt/slides/_rels/slide17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2.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3.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1.xml"/><Relationship Id="rId1" Type="http://schemas.openxmlformats.org/officeDocument/2006/relationships/slideLayout" Target="../slideLayouts/slideLayout29.xml"/><Relationship Id="rId4" Type="http://schemas.openxmlformats.org/officeDocument/2006/relationships/image" Target="../media/image47.png"/></Relationships>
</file>

<file path=ppt/slides/_rels/slide18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3.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4.png"/></Relationships>
</file>

<file path=ppt/slides/_rels/slide18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4.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5.png"/></Relationships>
</file>

<file path=ppt/slides/_rels/slide18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5.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6.png"/></Relationships>
</file>

<file path=ppt/slides/_rels/slide183.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19.png"/><Relationship Id="rId2" Type="http://schemas.openxmlformats.org/officeDocument/2006/relationships/notesSlide" Target="../notesSlides/notesSlide166.xml"/><Relationship Id="rId1" Type="http://schemas.openxmlformats.org/officeDocument/2006/relationships/slideLayout" Target="../slideLayouts/slideLayout18.xml"/><Relationship Id="rId6" Type="http://schemas.openxmlformats.org/officeDocument/2006/relationships/image" Target="../media/image218.png"/><Relationship Id="rId5" Type="http://schemas.openxmlformats.org/officeDocument/2006/relationships/image" Target="../media/image238.png"/><Relationship Id="rId4" Type="http://schemas.openxmlformats.org/officeDocument/2006/relationships/image" Target="../media/image237.png"/></Relationships>
</file>

<file path=ppt/slides/_rels/slide18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7.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9.png"/></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6.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168.xml"/><Relationship Id="rId1" Type="http://schemas.openxmlformats.org/officeDocument/2006/relationships/slideLayout" Target="../slideLayouts/slideLayout18.xml"/></Relationships>
</file>

<file path=ppt/slides/_rels/slide187.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169.xml"/><Relationship Id="rId1" Type="http://schemas.openxmlformats.org/officeDocument/2006/relationships/slideLayout" Target="../slideLayouts/slideLayout18.xml"/></Relationships>
</file>

<file path=ppt/slides/_rels/slide188.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170.xml"/><Relationship Id="rId1" Type="http://schemas.openxmlformats.org/officeDocument/2006/relationships/slideLayout" Target="../slideLayouts/slideLayout18.xml"/></Relationships>
</file>

<file path=ppt/slides/_rels/slide18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1.xml"/><Relationship Id="rId1" Type="http://schemas.openxmlformats.org/officeDocument/2006/relationships/slideLayout" Target="../slideLayouts/slideLayout18.xml"/><Relationship Id="rId4" Type="http://schemas.openxmlformats.org/officeDocument/2006/relationships/image" Target="../media/image243.png"/></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2.xml"/><Relationship Id="rId1" Type="http://schemas.openxmlformats.org/officeDocument/2006/relationships/slideLayout" Target="../slideLayouts/slideLayout29.xml"/><Relationship Id="rId4" Type="http://schemas.openxmlformats.org/officeDocument/2006/relationships/image" Target="../media/image48.png"/></Relationships>
</file>

<file path=ppt/slides/_rels/slide19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2.xml"/><Relationship Id="rId1" Type="http://schemas.openxmlformats.org/officeDocument/2006/relationships/slideLayout" Target="../slideLayouts/slideLayout18.xml"/><Relationship Id="rId4" Type="http://schemas.openxmlformats.org/officeDocument/2006/relationships/image" Target="../media/image244.png"/></Relationships>
</file>

<file path=ppt/slides/_rels/slide191.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image" Target="../media/image245.png"/><Relationship Id="rId1" Type="http://schemas.openxmlformats.org/officeDocument/2006/relationships/slideLayout" Target="../slideLayouts/slideLayout21.xml"/><Relationship Id="rId4" Type="http://schemas.openxmlformats.org/officeDocument/2006/relationships/image" Target="../media/image247.svg"/></Relationships>
</file>

<file path=ppt/slides/_rels/slide19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3.xml"/><Relationship Id="rId1" Type="http://schemas.openxmlformats.org/officeDocument/2006/relationships/slideLayout" Target="../slideLayouts/slideLayout18.xml"/><Relationship Id="rId5" Type="http://schemas.openxmlformats.org/officeDocument/2006/relationships/image" Target="../media/image249.png"/><Relationship Id="rId4" Type="http://schemas.openxmlformats.org/officeDocument/2006/relationships/image" Target="../media/image248.png"/></Relationships>
</file>

<file path=ppt/slides/_rels/slide19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4.xml"/><Relationship Id="rId1" Type="http://schemas.openxmlformats.org/officeDocument/2006/relationships/slideLayout" Target="../slideLayouts/slideLayout18.xml"/><Relationship Id="rId4" Type="http://schemas.openxmlformats.org/officeDocument/2006/relationships/image" Target="../media/image248.png"/></Relationships>
</file>

<file path=ppt/slides/_rels/slide194.xml.rels><?xml version="1.0" encoding="UTF-8" standalone="yes"?>
<Relationships xmlns="http://schemas.openxmlformats.org/package/2006/relationships"><Relationship Id="rId3" Type="http://schemas.openxmlformats.org/officeDocument/2006/relationships/image" Target="../media/image251.svg"/><Relationship Id="rId2" Type="http://schemas.openxmlformats.org/officeDocument/2006/relationships/image" Target="../media/image250.png"/><Relationship Id="rId1" Type="http://schemas.openxmlformats.org/officeDocument/2006/relationships/slideLayout" Target="../slideLayouts/slideLayout21.xml"/></Relationships>
</file>

<file path=ppt/slides/_rels/slide19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96.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7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97.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17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9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7.xml"/><Relationship Id="rId1" Type="http://schemas.openxmlformats.org/officeDocument/2006/relationships/slideLayout" Target="../slideLayouts/slideLayout18.xml"/><Relationship Id="rId4" Type="http://schemas.openxmlformats.org/officeDocument/2006/relationships/image" Target="../media/image254.png"/></Relationships>
</file>

<file path=ppt/slides/_rels/slide19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8.xml"/><Relationship Id="rId1" Type="http://schemas.openxmlformats.org/officeDocument/2006/relationships/slideLayout" Target="../slideLayouts/slideLayout18.xml"/><Relationship Id="rId4" Type="http://schemas.openxmlformats.org/officeDocument/2006/relationships/image" Target="../media/image25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20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9.xml"/><Relationship Id="rId1" Type="http://schemas.openxmlformats.org/officeDocument/2006/relationships/slideLayout" Target="../slideLayouts/slideLayout18.xml"/><Relationship Id="rId4" Type="http://schemas.openxmlformats.org/officeDocument/2006/relationships/image" Target="../media/image256.png"/></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2.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80.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3.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81.xml"/><Relationship Id="rId1" Type="http://schemas.openxmlformats.org/officeDocument/2006/relationships/slideLayout" Target="../slideLayouts/slideLayout18.xml"/></Relationships>
</file>

<file path=ppt/slides/_rels/slide204.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182.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5.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83.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6.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184.xml"/><Relationship Id="rId1" Type="http://schemas.openxmlformats.org/officeDocument/2006/relationships/slideLayout" Target="../slideLayouts/slideLayout18.xml"/></Relationships>
</file>

<file path=ppt/slides/_rels/slide207.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18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8.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186.xml"/><Relationship Id="rId1" Type="http://schemas.openxmlformats.org/officeDocument/2006/relationships/slideLayout" Target="../slideLayouts/slideLayout18.xml"/></Relationships>
</file>

<file path=ppt/slides/_rels/slide209.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8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210.xml.rels><?xml version="1.0" encoding="UTF-8" standalone="yes"?>
<Relationships xmlns="http://schemas.openxmlformats.org/package/2006/relationships"><Relationship Id="rId3" Type="http://schemas.openxmlformats.org/officeDocument/2006/relationships/image" Target="../media/image265.png"/><Relationship Id="rId2" Type="http://schemas.openxmlformats.org/officeDocument/2006/relationships/notesSlide" Target="../notesSlides/notesSlide188.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11.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189.xml"/><Relationship Id="rId1" Type="http://schemas.openxmlformats.org/officeDocument/2006/relationships/slideLayout" Target="../slideLayouts/slideLayout29.xml"/><Relationship Id="rId4" Type="http://schemas.openxmlformats.org/officeDocument/2006/relationships/image" Target="../media/image267.png"/></Relationships>
</file>

<file path=ppt/slides/_rels/slide212.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190.xml"/><Relationship Id="rId1" Type="http://schemas.openxmlformats.org/officeDocument/2006/relationships/slideLayout" Target="../slideLayouts/slideLayout29.xml"/><Relationship Id="rId4" Type="http://schemas.openxmlformats.org/officeDocument/2006/relationships/image" Target="../media/image269.png"/></Relationships>
</file>

<file path=ppt/slides/_rels/slide213.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91.xml"/><Relationship Id="rId1" Type="http://schemas.openxmlformats.org/officeDocument/2006/relationships/slideLayout" Target="../slideLayouts/slideLayout29.xml"/><Relationship Id="rId4" Type="http://schemas.openxmlformats.org/officeDocument/2006/relationships/image" Target="../media/image271.png"/></Relationships>
</file>

<file path=ppt/slides/_rels/slide214.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192.xml"/><Relationship Id="rId1" Type="http://schemas.openxmlformats.org/officeDocument/2006/relationships/slideLayout" Target="../slideLayouts/slideLayout29.xml"/><Relationship Id="rId4" Type="http://schemas.openxmlformats.org/officeDocument/2006/relationships/image" Target="../media/image273.png"/></Relationships>
</file>

<file path=ppt/slides/_rels/slide215.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193.xml"/><Relationship Id="rId1" Type="http://schemas.openxmlformats.org/officeDocument/2006/relationships/slideLayout" Target="../slideLayouts/slideLayout29.xml"/><Relationship Id="rId4" Type="http://schemas.openxmlformats.org/officeDocument/2006/relationships/image" Target="../media/image275.png"/></Relationships>
</file>

<file path=ppt/slides/_rels/slide216.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194.xml"/><Relationship Id="rId1" Type="http://schemas.openxmlformats.org/officeDocument/2006/relationships/slideLayout" Target="../slideLayouts/slideLayout29.xml"/><Relationship Id="rId4" Type="http://schemas.openxmlformats.org/officeDocument/2006/relationships/image" Target="../media/image277.png"/></Relationships>
</file>

<file path=ppt/slides/_rels/slide217.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195.xml"/><Relationship Id="rId1" Type="http://schemas.openxmlformats.org/officeDocument/2006/relationships/slideLayout" Target="../slideLayouts/slideLayout29.xml"/><Relationship Id="rId4" Type="http://schemas.openxmlformats.org/officeDocument/2006/relationships/image" Target="../media/image279.png"/></Relationships>
</file>

<file path=ppt/slides/_rels/slide218.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196.xml"/><Relationship Id="rId1" Type="http://schemas.openxmlformats.org/officeDocument/2006/relationships/slideLayout" Target="../slideLayouts/slideLayout29.xml"/><Relationship Id="rId4" Type="http://schemas.openxmlformats.org/officeDocument/2006/relationships/image" Target="../media/image281.png"/></Relationships>
</file>

<file path=ppt/slides/_rels/slide219.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197.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3.png"/></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29.xml"/><Relationship Id="rId5" Type="http://schemas.openxmlformats.org/officeDocument/2006/relationships/image" Target="../media/image53.png"/><Relationship Id="rId4" Type="http://schemas.openxmlformats.org/officeDocument/2006/relationships/image" Target="../media/image52.png"/></Relationships>
</file>

<file path=ppt/slides/_rels/slide220.xml.rels><?xml version="1.0" encoding="UTF-8" standalone="yes"?>
<Relationships xmlns="http://schemas.openxmlformats.org/package/2006/relationships"><Relationship Id="rId3" Type="http://schemas.openxmlformats.org/officeDocument/2006/relationships/image" Target="../media/image284.png"/><Relationship Id="rId7" Type="http://schemas.openxmlformats.org/officeDocument/2006/relationships/image" Target="../media/image286.png"/><Relationship Id="rId2" Type="http://schemas.openxmlformats.org/officeDocument/2006/relationships/notesSlide" Target="../notesSlides/notesSlide198.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5.png"/></Relationships>
</file>

<file path=ppt/slides/_rels/slide221.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199.xml"/><Relationship Id="rId1" Type="http://schemas.openxmlformats.org/officeDocument/2006/relationships/slideLayout" Target="../slideLayouts/slideLayout29.xml"/><Relationship Id="rId6" Type="http://schemas.openxmlformats.org/officeDocument/2006/relationships/image" Target="../media/image288.png"/><Relationship Id="rId5" Type="http://schemas.openxmlformats.org/officeDocument/2006/relationships/image" Target="../media/image113.svg"/><Relationship Id="rId4" Type="http://schemas.openxmlformats.org/officeDocument/2006/relationships/image" Target="../media/image112.png"/></Relationships>
</file>

<file path=ppt/slides/_rels/slide222.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00.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5.png"/></Relationships>
</file>

<file path=ppt/slides/_rels/slide223.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01.xml"/><Relationship Id="rId1" Type="http://schemas.openxmlformats.org/officeDocument/2006/relationships/slideLayout" Target="../slideLayouts/slideLayout29.xml"/><Relationship Id="rId4" Type="http://schemas.openxmlformats.org/officeDocument/2006/relationships/image" Target="../media/image291.png"/></Relationships>
</file>

<file path=ppt/slides/_rels/slide224.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225.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02.xml"/><Relationship Id="rId1" Type="http://schemas.openxmlformats.org/officeDocument/2006/relationships/slideLayout" Target="../slideLayouts/slideLayout18.xml"/></Relationships>
</file>

<file path=ppt/slides/_rels/slide226.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03.xml"/><Relationship Id="rId1" Type="http://schemas.openxmlformats.org/officeDocument/2006/relationships/slideLayout" Target="../slideLayouts/slideLayout18.xml"/></Relationships>
</file>

<file path=ppt/slides/_rels/slide227.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04.xml"/><Relationship Id="rId1" Type="http://schemas.openxmlformats.org/officeDocument/2006/relationships/slideLayout" Target="../slideLayouts/slideLayout18.xml"/></Relationships>
</file>

<file path=ppt/slides/_rels/slide228.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05.xml"/><Relationship Id="rId1" Type="http://schemas.openxmlformats.org/officeDocument/2006/relationships/slideLayout" Target="../slideLayouts/slideLayout18.xml"/></Relationships>
</file>

<file path=ppt/slides/_rels/slide229.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06.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54.gif"/><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230.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07.xml"/><Relationship Id="rId1" Type="http://schemas.openxmlformats.org/officeDocument/2006/relationships/slideLayout" Target="../slideLayouts/slideLayout18.xml"/></Relationships>
</file>

<file path=ppt/slides/_rels/slide231.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08.xml"/><Relationship Id="rId1" Type="http://schemas.openxmlformats.org/officeDocument/2006/relationships/slideLayout" Target="../slideLayouts/slideLayout18.xml"/></Relationships>
</file>

<file path=ppt/slides/_rels/slide232.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09.xml"/><Relationship Id="rId1" Type="http://schemas.openxmlformats.org/officeDocument/2006/relationships/slideLayout" Target="../slideLayouts/slideLayout18.xml"/></Relationships>
</file>

<file path=ppt/slides/_rels/slide233.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10.xml"/><Relationship Id="rId1" Type="http://schemas.openxmlformats.org/officeDocument/2006/relationships/slideLayout" Target="../slideLayouts/slideLayout18.xml"/></Relationships>
</file>

<file path=ppt/slides/_rels/slide234.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11.xml"/><Relationship Id="rId1" Type="http://schemas.openxmlformats.org/officeDocument/2006/relationships/slideLayout" Target="../slideLayouts/slideLayout18.xml"/></Relationships>
</file>

<file path=ppt/slides/_rels/slide235.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12.xml"/><Relationship Id="rId1" Type="http://schemas.openxmlformats.org/officeDocument/2006/relationships/slideLayout" Target="../slideLayouts/slideLayout18.xml"/></Relationships>
</file>

<file path=ppt/slides/_rels/slide236.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213.xml"/><Relationship Id="rId1" Type="http://schemas.openxmlformats.org/officeDocument/2006/relationships/slideLayout" Target="../slideLayouts/slideLayout18.xml"/></Relationships>
</file>

<file path=ppt/slides/_rels/slide237.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214.xml"/><Relationship Id="rId1" Type="http://schemas.openxmlformats.org/officeDocument/2006/relationships/slideLayout" Target="../slideLayouts/slideLayout18.xml"/></Relationships>
</file>

<file path=ppt/slides/_rels/slide238.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215.xml"/><Relationship Id="rId1" Type="http://schemas.openxmlformats.org/officeDocument/2006/relationships/slideLayout" Target="../slideLayouts/slideLayout18.xml"/></Relationships>
</file>

<file path=ppt/slides/_rels/slide239.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16.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240.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17.xml"/><Relationship Id="rId1" Type="http://schemas.openxmlformats.org/officeDocument/2006/relationships/slideLayout" Target="../slideLayouts/slideLayout18.xml"/></Relationships>
</file>

<file path=ppt/slides/_rels/slide241.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218.xml"/><Relationship Id="rId1" Type="http://schemas.openxmlformats.org/officeDocument/2006/relationships/slideLayout" Target="../slideLayouts/slideLayout18.xml"/></Relationships>
</file>

<file path=ppt/slides/_rels/slide242.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notesSlide" Target="../notesSlides/notesSlide219.xml"/><Relationship Id="rId1" Type="http://schemas.openxmlformats.org/officeDocument/2006/relationships/slideLayout" Target="../slideLayouts/slideLayout18.xml"/></Relationships>
</file>

<file path=ppt/slides/_rels/slide243.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220.xml"/><Relationship Id="rId1" Type="http://schemas.openxmlformats.org/officeDocument/2006/relationships/slideLayout" Target="../slideLayouts/slideLayout18.xml"/></Relationships>
</file>

<file path=ppt/slides/_rels/slide244.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221.xml"/><Relationship Id="rId1" Type="http://schemas.openxmlformats.org/officeDocument/2006/relationships/slideLayout" Target="../slideLayouts/slideLayout18.xml"/></Relationships>
</file>

<file path=ppt/slides/_rels/slide245.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222.xml"/><Relationship Id="rId1" Type="http://schemas.openxmlformats.org/officeDocument/2006/relationships/slideLayout" Target="../slideLayouts/slideLayout18.xml"/></Relationships>
</file>

<file path=ppt/slides/_rels/slide246.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223.xml"/><Relationship Id="rId1" Type="http://schemas.openxmlformats.org/officeDocument/2006/relationships/slideLayout" Target="../slideLayouts/slideLayout18.xml"/></Relationships>
</file>

<file path=ppt/slides/_rels/slide247.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224.xml"/><Relationship Id="rId1" Type="http://schemas.openxmlformats.org/officeDocument/2006/relationships/slideLayout" Target="../slideLayouts/slideLayout18.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9.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notesSlide" Target="../notesSlides/notesSlide225.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29.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50.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226.xml"/><Relationship Id="rId1" Type="http://schemas.openxmlformats.org/officeDocument/2006/relationships/slideLayout" Target="../slideLayouts/slideLayout18.xml"/><Relationship Id="rId4" Type="http://schemas.openxmlformats.org/officeDocument/2006/relationships/image" Target="../media/image317.png"/></Relationships>
</file>

<file path=ppt/slides/_rels/slide251.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27.xml"/><Relationship Id="rId1" Type="http://schemas.openxmlformats.org/officeDocument/2006/relationships/slideLayout" Target="../slideLayouts/slideLayout18.xml"/></Relationships>
</file>

<file path=ppt/slides/_rels/slide252.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notesSlide" Target="../notesSlides/notesSlide228.xml"/><Relationship Id="rId1" Type="http://schemas.openxmlformats.org/officeDocument/2006/relationships/slideLayout" Target="../slideLayouts/slideLayout18.xml"/></Relationships>
</file>

<file path=ppt/slides/_rels/slide253.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29.xml"/><Relationship Id="rId1" Type="http://schemas.openxmlformats.org/officeDocument/2006/relationships/slideLayout" Target="../slideLayouts/slideLayout18.xml"/></Relationships>
</file>

<file path=ppt/slides/_rels/slide254.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230.xml"/><Relationship Id="rId1" Type="http://schemas.openxmlformats.org/officeDocument/2006/relationships/slideLayout" Target="../slideLayouts/slideLayout18.xml"/></Relationships>
</file>

<file path=ppt/slides/_rels/slide255.xml.rels><?xml version="1.0" encoding="UTF-8" standalone="yes"?>
<Relationships xmlns="http://schemas.openxmlformats.org/package/2006/relationships"><Relationship Id="rId3" Type="http://schemas.openxmlformats.org/officeDocument/2006/relationships/image" Target="../media/image251.svg"/><Relationship Id="rId2" Type="http://schemas.openxmlformats.org/officeDocument/2006/relationships/image" Target="../media/image250.png"/><Relationship Id="rId1" Type="http://schemas.openxmlformats.org/officeDocument/2006/relationships/slideLayout" Target="../slideLayouts/slideLayout21.xml"/></Relationships>
</file>

<file path=ppt/slides/_rels/slide256.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257.xml.rels><?xml version="1.0" encoding="UTF-8" standalone="yes"?>
<Relationships xmlns="http://schemas.openxmlformats.org/package/2006/relationships"><Relationship Id="rId3" Type="http://schemas.openxmlformats.org/officeDocument/2006/relationships/image" Target="../media/image321.png"/><Relationship Id="rId2" Type="http://schemas.openxmlformats.org/officeDocument/2006/relationships/notesSlide" Target="../notesSlides/notesSlide231.xml"/><Relationship Id="rId1" Type="http://schemas.openxmlformats.org/officeDocument/2006/relationships/slideLayout" Target="../slideLayouts/slideLayout18.xml"/></Relationships>
</file>

<file path=ppt/slides/_rels/slide258.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232.xml"/><Relationship Id="rId1" Type="http://schemas.openxmlformats.org/officeDocument/2006/relationships/slideLayout" Target="../slideLayouts/slideLayout18.xml"/></Relationships>
</file>

<file path=ppt/slides/_rels/slide259.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notesSlide" Target="../notesSlides/notesSlide233.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39.xml"/><Relationship Id="rId6" Type="http://schemas.openxmlformats.org/officeDocument/2006/relationships/image" Target="../media/image64.png"/><Relationship Id="rId11" Type="http://schemas.openxmlformats.org/officeDocument/2006/relationships/image" Target="../media/image69.jpeg"/><Relationship Id="rId5" Type="http://schemas.openxmlformats.org/officeDocument/2006/relationships/image" Target="../media/image63.gif"/><Relationship Id="rId10" Type="http://schemas.openxmlformats.org/officeDocument/2006/relationships/image" Target="../media/image68.jpeg"/><Relationship Id="rId4" Type="http://schemas.openxmlformats.org/officeDocument/2006/relationships/image" Target="../media/image62.png"/><Relationship Id="rId9" Type="http://schemas.openxmlformats.org/officeDocument/2006/relationships/image" Target="../media/image67.png"/></Relationships>
</file>

<file path=ppt/slides/_rels/slide26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1.xml.rels><?xml version="1.0" encoding="UTF-8" standalone="yes"?>
<Relationships xmlns="http://schemas.openxmlformats.org/package/2006/relationships"><Relationship Id="rId3" Type="http://schemas.openxmlformats.org/officeDocument/2006/relationships/image" Target="../media/image324.png"/><Relationship Id="rId2" Type="http://schemas.openxmlformats.org/officeDocument/2006/relationships/notesSlide" Target="../notesSlides/notesSlide234.xml"/><Relationship Id="rId1" Type="http://schemas.openxmlformats.org/officeDocument/2006/relationships/slideLayout" Target="../slideLayouts/slideLayout18.xml"/><Relationship Id="rId4" Type="http://schemas.openxmlformats.org/officeDocument/2006/relationships/image" Target="../media/image325.png"/></Relationships>
</file>

<file path=ppt/slides/_rels/slide262.xml.rels><?xml version="1.0" encoding="UTF-8" standalone="yes"?>
<Relationships xmlns="http://schemas.openxmlformats.org/package/2006/relationships"><Relationship Id="rId3" Type="http://schemas.openxmlformats.org/officeDocument/2006/relationships/image" Target="../media/image326.png"/><Relationship Id="rId2" Type="http://schemas.openxmlformats.org/officeDocument/2006/relationships/notesSlide" Target="../notesSlides/notesSlide235.xml"/><Relationship Id="rId1" Type="http://schemas.openxmlformats.org/officeDocument/2006/relationships/slideLayout" Target="../slideLayouts/slideLayout18.xml"/></Relationships>
</file>

<file path=ppt/slides/_rels/slide263.xml.rels><?xml version="1.0" encoding="UTF-8" standalone="yes"?>
<Relationships xmlns="http://schemas.openxmlformats.org/package/2006/relationships"><Relationship Id="rId3" Type="http://schemas.openxmlformats.org/officeDocument/2006/relationships/image" Target="../media/image327.png"/><Relationship Id="rId2" Type="http://schemas.openxmlformats.org/officeDocument/2006/relationships/notesSlide" Target="../notesSlides/notesSlide236.xml"/><Relationship Id="rId1" Type="http://schemas.openxmlformats.org/officeDocument/2006/relationships/slideLayout" Target="../slideLayouts/slideLayout18.xml"/></Relationships>
</file>

<file path=ppt/slides/_rels/slide264.xml.rels><?xml version="1.0" encoding="UTF-8" standalone="yes"?>
<Relationships xmlns="http://schemas.openxmlformats.org/package/2006/relationships"><Relationship Id="rId3" Type="http://schemas.openxmlformats.org/officeDocument/2006/relationships/image" Target="../media/image328.png"/><Relationship Id="rId7" Type="http://schemas.openxmlformats.org/officeDocument/2006/relationships/image" Target="../media/image332.png"/><Relationship Id="rId2" Type="http://schemas.openxmlformats.org/officeDocument/2006/relationships/notesSlide" Target="../notesSlides/notesSlide237.xml"/><Relationship Id="rId1" Type="http://schemas.openxmlformats.org/officeDocument/2006/relationships/slideLayout" Target="../slideLayouts/slideLayout18.xml"/><Relationship Id="rId6" Type="http://schemas.openxmlformats.org/officeDocument/2006/relationships/image" Target="../media/image331.png"/><Relationship Id="rId5" Type="http://schemas.openxmlformats.org/officeDocument/2006/relationships/image" Target="../media/image330.png"/><Relationship Id="rId4" Type="http://schemas.openxmlformats.org/officeDocument/2006/relationships/image" Target="../media/image329.png"/></Relationships>
</file>

<file path=ppt/slides/_rels/slide265.xml.rels><?xml version="1.0" encoding="UTF-8" standalone="yes"?>
<Relationships xmlns="http://schemas.openxmlformats.org/package/2006/relationships"><Relationship Id="rId3" Type="http://schemas.openxmlformats.org/officeDocument/2006/relationships/image" Target="../media/image333.png"/><Relationship Id="rId2" Type="http://schemas.openxmlformats.org/officeDocument/2006/relationships/notesSlide" Target="../notesSlides/notesSlide238.xml"/><Relationship Id="rId1" Type="http://schemas.openxmlformats.org/officeDocument/2006/relationships/slideLayout" Target="../slideLayouts/slideLayout18.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334.png"/></Relationships>
</file>

<file path=ppt/slides/_rels/slide266.xml.rels><?xml version="1.0" encoding="UTF-8" standalone="yes"?>
<Relationships xmlns="http://schemas.openxmlformats.org/package/2006/relationships"><Relationship Id="rId3" Type="http://schemas.openxmlformats.org/officeDocument/2006/relationships/image" Target="../media/image335.png"/><Relationship Id="rId2" Type="http://schemas.openxmlformats.org/officeDocument/2006/relationships/notesSlide" Target="../notesSlides/notesSlide239.xml"/><Relationship Id="rId1" Type="http://schemas.openxmlformats.org/officeDocument/2006/relationships/slideLayout" Target="../slideLayouts/slideLayout18.xml"/><Relationship Id="rId6" Type="http://schemas.openxmlformats.org/officeDocument/2006/relationships/image" Target="../media/image338.png"/><Relationship Id="rId5" Type="http://schemas.openxmlformats.org/officeDocument/2006/relationships/image" Target="../media/image337.png"/><Relationship Id="rId4" Type="http://schemas.openxmlformats.org/officeDocument/2006/relationships/image" Target="../media/image336.png"/></Relationships>
</file>

<file path=ppt/slides/_rels/slide267.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notesSlide" Target="../notesSlides/notesSlide240.xml"/><Relationship Id="rId1" Type="http://schemas.openxmlformats.org/officeDocument/2006/relationships/slideLayout" Target="../slideLayouts/slideLayout18.xml"/></Relationships>
</file>

<file path=ppt/slides/_rels/slide268.xml.rels><?xml version="1.0" encoding="UTF-8" standalone="yes"?>
<Relationships xmlns="http://schemas.openxmlformats.org/package/2006/relationships"><Relationship Id="rId3" Type="http://schemas.openxmlformats.org/officeDocument/2006/relationships/image" Target="../media/image340.png"/><Relationship Id="rId2" Type="http://schemas.openxmlformats.org/officeDocument/2006/relationships/notesSlide" Target="../notesSlides/notesSlide241.xml"/><Relationship Id="rId1" Type="http://schemas.openxmlformats.org/officeDocument/2006/relationships/slideLayout" Target="../slideLayouts/slideLayout18.xml"/></Relationships>
</file>

<file path=ppt/slides/_rels/slide269.xml.rels><?xml version="1.0" encoding="UTF-8" standalone="yes"?>
<Relationships xmlns="http://schemas.openxmlformats.org/package/2006/relationships"><Relationship Id="rId3" Type="http://schemas.openxmlformats.org/officeDocument/2006/relationships/image" Target="../media/image341.png"/><Relationship Id="rId2" Type="http://schemas.openxmlformats.org/officeDocument/2006/relationships/notesSlide" Target="../notesSlides/notesSlide242.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0.xml"/><Relationship Id="rId1" Type="http://schemas.openxmlformats.org/officeDocument/2006/relationships/slideLayout" Target="../slideLayouts/slideLayout29.xml"/><Relationship Id="rId6" Type="http://schemas.openxmlformats.org/officeDocument/2006/relationships/image" Target="../media/image73.gif"/><Relationship Id="rId5" Type="http://schemas.openxmlformats.org/officeDocument/2006/relationships/hyperlink" Target="https://go.microsoft.com/fwlink/?LinkId=2083007&amp;clcid=0x409" TargetMode="External"/><Relationship Id="rId4" Type="http://schemas.openxmlformats.org/officeDocument/2006/relationships/image" Target="../media/image72.png"/></Relationships>
</file>

<file path=ppt/slides/_rels/slide270.xml.rels><?xml version="1.0" encoding="UTF-8" standalone="yes"?>
<Relationships xmlns="http://schemas.openxmlformats.org/package/2006/relationships"><Relationship Id="rId3" Type="http://schemas.openxmlformats.org/officeDocument/2006/relationships/image" Target="../media/image342.png"/><Relationship Id="rId2" Type="http://schemas.openxmlformats.org/officeDocument/2006/relationships/notesSlide" Target="../notesSlides/notesSlide243.xml"/><Relationship Id="rId1" Type="http://schemas.openxmlformats.org/officeDocument/2006/relationships/slideLayout" Target="../slideLayouts/slideLayout18.xml"/></Relationships>
</file>

<file path=ppt/slides/_rels/slide271.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notesSlide" Target="../notesSlides/notesSlide244.xml"/><Relationship Id="rId1" Type="http://schemas.openxmlformats.org/officeDocument/2006/relationships/slideLayout" Target="../slideLayouts/slideLayout18.xml"/></Relationships>
</file>

<file path=ppt/slides/_rels/slide272.xml.rels><?xml version="1.0" encoding="UTF-8" standalone="yes"?>
<Relationships xmlns="http://schemas.openxmlformats.org/package/2006/relationships"><Relationship Id="rId3" Type="http://schemas.openxmlformats.org/officeDocument/2006/relationships/image" Target="../media/image344.png"/><Relationship Id="rId2" Type="http://schemas.openxmlformats.org/officeDocument/2006/relationships/notesSlide" Target="../notesSlides/notesSlide245.xml"/><Relationship Id="rId1" Type="http://schemas.openxmlformats.org/officeDocument/2006/relationships/slideLayout" Target="../slideLayouts/slideLayout18.xml"/></Relationships>
</file>

<file path=ppt/slides/_rels/slide273.xml.rels><?xml version="1.0" encoding="UTF-8" standalone="yes"?>
<Relationships xmlns="http://schemas.openxmlformats.org/package/2006/relationships"><Relationship Id="rId3" Type="http://schemas.openxmlformats.org/officeDocument/2006/relationships/image" Target="../media/image345.png"/><Relationship Id="rId2" Type="http://schemas.openxmlformats.org/officeDocument/2006/relationships/notesSlide" Target="../notesSlides/notesSlide246.xml"/><Relationship Id="rId1" Type="http://schemas.openxmlformats.org/officeDocument/2006/relationships/slideLayout" Target="../slideLayouts/slideLayout18.xml"/></Relationships>
</file>

<file path=ppt/slides/_rels/slide274.xml.rels><?xml version="1.0" encoding="UTF-8" standalone="yes"?>
<Relationships xmlns="http://schemas.openxmlformats.org/package/2006/relationships"><Relationship Id="rId3" Type="http://schemas.openxmlformats.org/officeDocument/2006/relationships/image" Target="../media/image346.png"/><Relationship Id="rId2" Type="http://schemas.openxmlformats.org/officeDocument/2006/relationships/notesSlide" Target="../notesSlides/notesSlide247.xml"/><Relationship Id="rId1" Type="http://schemas.openxmlformats.org/officeDocument/2006/relationships/slideLayout" Target="../slideLayouts/slideLayout18.xml"/></Relationships>
</file>

<file path=ppt/slides/_rels/slide275.xml.rels><?xml version="1.0" encoding="UTF-8" standalone="yes"?>
<Relationships xmlns="http://schemas.openxmlformats.org/package/2006/relationships"><Relationship Id="rId3" Type="http://schemas.openxmlformats.org/officeDocument/2006/relationships/image" Target="../media/image347.png"/><Relationship Id="rId2" Type="http://schemas.openxmlformats.org/officeDocument/2006/relationships/notesSlide" Target="../notesSlides/notesSlide248.xml"/><Relationship Id="rId1" Type="http://schemas.openxmlformats.org/officeDocument/2006/relationships/slideLayout" Target="../slideLayouts/slideLayout18.xml"/></Relationships>
</file>

<file path=ppt/slides/_rels/slide276.xml.rels><?xml version="1.0" encoding="UTF-8" standalone="yes"?>
<Relationships xmlns="http://schemas.openxmlformats.org/package/2006/relationships"><Relationship Id="rId3" Type="http://schemas.openxmlformats.org/officeDocument/2006/relationships/image" Target="../media/image348.png"/><Relationship Id="rId2" Type="http://schemas.openxmlformats.org/officeDocument/2006/relationships/notesSlide" Target="../notesSlides/notesSlide249.xml"/><Relationship Id="rId1" Type="http://schemas.openxmlformats.org/officeDocument/2006/relationships/slideLayout" Target="../slideLayouts/slideLayout18.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8.xml.rels><?xml version="1.0" encoding="UTF-8" standalone="yes"?>
<Relationships xmlns="http://schemas.openxmlformats.org/package/2006/relationships"><Relationship Id="rId3" Type="http://schemas.openxmlformats.org/officeDocument/2006/relationships/image" Target="../media/image349.png"/><Relationship Id="rId2" Type="http://schemas.openxmlformats.org/officeDocument/2006/relationships/notesSlide" Target="../notesSlides/notesSlide250.xml"/><Relationship Id="rId1" Type="http://schemas.openxmlformats.org/officeDocument/2006/relationships/slideLayout" Target="../slideLayouts/slideLayout18.xml"/></Relationships>
</file>

<file path=ppt/slides/_rels/slide279.xml.rels><?xml version="1.0" encoding="UTF-8" standalone="yes"?>
<Relationships xmlns="http://schemas.openxmlformats.org/package/2006/relationships"><Relationship Id="rId3" Type="http://schemas.openxmlformats.org/officeDocument/2006/relationships/image" Target="../media/image350.png"/><Relationship Id="rId2" Type="http://schemas.openxmlformats.org/officeDocument/2006/relationships/notesSlide" Target="../notesSlides/notesSlide251.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1.xml"/><Relationship Id="rId1" Type="http://schemas.openxmlformats.org/officeDocument/2006/relationships/slideLayout" Target="../slideLayouts/slideLayout29.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hyperlink" Target="https://www.gartner.com/doc/reprints?id=1-57IQ201&amp;ct=180717&amp;st=sb" TargetMode="External"/></Relationships>
</file>

<file path=ppt/slides/_rels/slide280.xml.rels><?xml version="1.0" encoding="UTF-8" standalone="yes"?>
<Relationships xmlns="http://schemas.openxmlformats.org/package/2006/relationships"><Relationship Id="rId3" Type="http://schemas.openxmlformats.org/officeDocument/2006/relationships/image" Target="../media/image351.png"/><Relationship Id="rId2" Type="http://schemas.openxmlformats.org/officeDocument/2006/relationships/notesSlide" Target="../notesSlides/notesSlide252.xml"/><Relationship Id="rId1" Type="http://schemas.openxmlformats.org/officeDocument/2006/relationships/slideLayout" Target="../slideLayouts/slideLayout18.xml"/></Relationships>
</file>

<file path=ppt/slides/_rels/slide281.xml.rels><?xml version="1.0" encoding="UTF-8" standalone="yes"?>
<Relationships xmlns="http://schemas.openxmlformats.org/package/2006/relationships"><Relationship Id="rId3" Type="http://schemas.openxmlformats.org/officeDocument/2006/relationships/image" Target="../media/image352.png"/><Relationship Id="rId2" Type="http://schemas.openxmlformats.org/officeDocument/2006/relationships/notesSlide" Target="../notesSlides/notesSlide253.xml"/><Relationship Id="rId1" Type="http://schemas.openxmlformats.org/officeDocument/2006/relationships/slideLayout" Target="../slideLayouts/slideLayout18.xml"/></Relationships>
</file>

<file path=ppt/slides/_rels/slide282.xml.rels><?xml version="1.0" encoding="UTF-8" standalone="yes"?>
<Relationships xmlns="http://schemas.openxmlformats.org/package/2006/relationships"><Relationship Id="rId3" Type="http://schemas.openxmlformats.org/officeDocument/2006/relationships/image" Target="../media/image353.png"/><Relationship Id="rId2" Type="http://schemas.openxmlformats.org/officeDocument/2006/relationships/notesSlide" Target="../notesSlides/notesSlide254.xml"/><Relationship Id="rId1" Type="http://schemas.openxmlformats.org/officeDocument/2006/relationships/slideLayout" Target="../slideLayouts/slideLayout18.xml"/></Relationships>
</file>

<file path=ppt/slides/_rels/slide283.xml.rels><?xml version="1.0" encoding="UTF-8" standalone="yes"?>
<Relationships xmlns="http://schemas.openxmlformats.org/package/2006/relationships"><Relationship Id="rId3" Type="http://schemas.openxmlformats.org/officeDocument/2006/relationships/image" Target="../media/image354.png"/><Relationship Id="rId2" Type="http://schemas.openxmlformats.org/officeDocument/2006/relationships/notesSlide" Target="../notesSlides/notesSlide255.xml"/><Relationship Id="rId1" Type="http://schemas.openxmlformats.org/officeDocument/2006/relationships/slideLayout" Target="../slideLayouts/slideLayout18.xml"/></Relationships>
</file>

<file path=ppt/slides/_rels/slide284.xml.rels><?xml version="1.0" encoding="UTF-8" standalone="yes"?>
<Relationships xmlns="http://schemas.openxmlformats.org/package/2006/relationships"><Relationship Id="rId3" Type="http://schemas.openxmlformats.org/officeDocument/2006/relationships/image" Target="../media/image355.png"/><Relationship Id="rId2" Type="http://schemas.openxmlformats.org/officeDocument/2006/relationships/notesSlide" Target="../notesSlides/notesSlide256.xml"/><Relationship Id="rId1" Type="http://schemas.openxmlformats.org/officeDocument/2006/relationships/slideLayout" Target="../slideLayouts/slideLayout18.xml"/></Relationships>
</file>

<file path=ppt/slides/_rels/slide285.xml.rels><?xml version="1.0" encoding="UTF-8" standalone="yes"?>
<Relationships xmlns="http://schemas.openxmlformats.org/package/2006/relationships"><Relationship Id="rId3" Type="http://schemas.openxmlformats.org/officeDocument/2006/relationships/image" Target="../media/image356.png"/><Relationship Id="rId2" Type="http://schemas.openxmlformats.org/officeDocument/2006/relationships/notesSlide" Target="../notesSlides/notesSlide257.xml"/><Relationship Id="rId1" Type="http://schemas.openxmlformats.org/officeDocument/2006/relationships/slideLayout" Target="../slideLayouts/slideLayout18.xml"/></Relationships>
</file>

<file path=ppt/slides/_rels/slide286.xml.rels><?xml version="1.0" encoding="UTF-8" standalone="yes"?>
<Relationships xmlns="http://schemas.openxmlformats.org/package/2006/relationships"><Relationship Id="rId2" Type="http://schemas.openxmlformats.org/officeDocument/2006/relationships/image" Target="../media/image357.png"/><Relationship Id="rId1" Type="http://schemas.openxmlformats.org/officeDocument/2006/relationships/slideLayout" Target="../slideLayouts/slideLayout18.xml"/></Relationships>
</file>

<file path=ppt/slides/_rels/slide287.xml.rels><?xml version="1.0" encoding="UTF-8" standalone="yes"?>
<Relationships xmlns="http://schemas.openxmlformats.org/package/2006/relationships"><Relationship Id="rId2" Type="http://schemas.openxmlformats.org/officeDocument/2006/relationships/image" Target="../media/image358.png"/><Relationship Id="rId1" Type="http://schemas.openxmlformats.org/officeDocument/2006/relationships/slideLayout" Target="../slideLayouts/slideLayout18.xml"/></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9.xml.rels><?xml version="1.0" encoding="UTF-8" standalone="yes"?>
<Relationships xmlns="http://schemas.openxmlformats.org/package/2006/relationships"><Relationship Id="rId2" Type="http://schemas.openxmlformats.org/officeDocument/2006/relationships/image" Target="../media/image359.pn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2.xml"/><Relationship Id="rId1" Type="http://schemas.openxmlformats.org/officeDocument/2006/relationships/slideLayout" Target="../slideLayouts/slideLayout29.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hyperlink" Target="https://www.gartner.com/doc/reprints?id=1-1DS56616&amp;ct=190710&amp;st=sb&amp;mkt_tok=eyJpIjoiWW1KaU5ETTNaVEkzT1RBMiIsInQiOiJKOWNORGdWRHdNM0hRM1hzQ0t1MTE0Qmx6dGkrYk0wUllJU1RaWUlMNFM1NjB0dmoxbDBHa0V0MnBtckx3ZVRRTkZGaHNPM2R5ZlUxMmZzY1BRc2Z0SmZ4ejB1UDZRM1lNd3VaR3V2Z1N6TVlNSEg4dlAzZWxaaDdyaGFGZys1ck96XC9VVktCNlFaOFNveE5YdjlJRjFtREpZaTluUFFBVVwvbUJmTmZiRVFQUT0ifQ%3D%3D" TargetMode="External"/></Relationships>
</file>

<file path=ppt/slides/_rels/slide290.xml.rels><?xml version="1.0" encoding="UTF-8" standalone="yes"?>
<Relationships xmlns="http://schemas.openxmlformats.org/package/2006/relationships"><Relationship Id="rId2" Type="http://schemas.openxmlformats.org/officeDocument/2006/relationships/image" Target="../media/image360.png"/><Relationship Id="rId1" Type="http://schemas.openxmlformats.org/officeDocument/2006/relationships/slideLayout" Target="../slideLayouts/slideLayout18.xml"/></Relationships>
</file>

<file path=ppt/slides/_rels/slide291.xml.rels><?xml version="1.0" encoding="UTF-8" standalone="yes"?>
<Relationships xmlns="http://schemas.openxmlformats.org/package/2006/relationships"><Relationship Id="rId2" Type="http://schemas.openxmlformats.org/officeDocument/2006/relationships/image" Target="../media/image361.png"/><Relationship Id="rId1" Type="http://schemas.openxmlformats.org/officeDocument/2006/relationships/slideLayout" Target="../slideLayouts/slideLayout18.xml"/></Relationships>
</file>

<file path=ppt/slides/_rels/slide292.xml.rels><?xml version="1.0" encoding="UTF-8" standalone="yes"?>
<Relationships xmlns="http://schemas.openxmlformats.org/package/2006/relationships"><Relationship Id="rId2" Type="http://schemas.openxmlformats.org/officeDocument/2006/relationships/image" Target="../media/image362.png"/><Relationship Id="rId1" Type="http://schemas.openxmlformats.org/officeDocument/2006/relationships/slideLayout" Target="../slideLayouts/slideLayout18.xml"/></Relationships>
</file>

<file path=ppt/slides/_rels/slide293.xml.rels><?xml version="1.0" encoding="UTF-8" standalone="yes"?>
<Relationships xmlns="http://schemas.openxmlformats.org/package/2006/relationships"><Relationship Id="rId2" Type="http://schemas.openxmlformats.org/officeDocument/2006/relationships/image" Target="../media/image363.png"/><Relationship Id="rId1" Type="http://schemas.openxmlformats.org/officeDocument/2006/relationships/slideLayout" Target="../slideLayouts/slideLayout18.xml"/></Relationships>
</file>

<file path=ppt/slides/_rels/slide294.xml.rels><?xml version="1.0" encoding="UTF-8" standalone="yes"?>
<Relationships xmlns="http://schemas.openxmlformats.org/package/2006/relationships"><Relationship Id="rId2" Type="http://schemas.openxmlformats.org/officeDocument/2006/relationships/image" Target="../media/image364.png"/><Relationship Id="rId1" Type="http://schemas.openxmlformats.org/officeDocument/2006/relationships/slideLayout" Target="../slideLayouts/slideLayout18.xml"/></Relationships>
</file>

<file path=ppt/slides/_rels/slide295.xml.rels><?xml version="1.0" encoding="UTF-8" standalone="yes"?>
<Relationships xmlns="http://schemas.openxmlformats.org/package/2006/relationships"><Relationship Id="rId2" Type="http://schemas.openxmlformats.org/officeDocument/2006/relationships/image" Target="../media/image365.png"/><Relationship Id="rId1" Type="http://schemas.openxmlformats.org/officeDocument/2006/relationships/slideLayout" Target="../slideLayouts/slideLayout18.xml"/></Relationships>
</file>

<file path=ppt/slides/_rels/slide296.xml.rels><?xml version="1.0" encoding="UTF-8" standalone="yes"?>
<Relationships xmlns="http://schemas.openxmlformats.org/package/2006/relationships"><Relationship Id="rId2" Type="http://schemas.openxmlformats.org/officeDocument/2006/relationships/image" Target="../media/image366.png"/><Relationship Id="rId1" Type="http://schemas.openxmlformats.org/officeDocument/2006/relationships/slideLayout" Target="../slideLayouts/slideLayout18.xml"/></Relationships>
</file>

<file path=ppt/slides/_rels/slide297.xml.rels><?xml version="1.0" encoding="UTF-8" standalone="yes"?>
<Relationships xmlns="http://schemas.openxmlformats.org/package/2006/relationships"><Relationship Id="rId2" Type="http://schemas.openxmlformats.org/officeDocument/2006/relationships/image" Target="../media/image367.png"/><Relationship Id="rId1" Type="http://schemas.openxmlformats.org/officeDocument/2006/relationships/slideLayout" Target="../slideLayouts/slideLayout18.xml"/></Relationships>
</file>

<file path=ppt/slides/_rels/slide298.xml.rels><?xml version="1.0" encoding="UTF-8" standalone="yes"?>
<Relationships xmlns="http://schemas.openxmlformats.org/package/2006/relationships"><Relationship Id="rId2" Type="http://schemas.openxmlformats.org/officeDocument/2006/relationships/image" Target="../media/image368.png"/><Relationship Id="rId1" Type="http://schemas.openxmlformats.org/officeDocument/2006/relationships/slideLayout" Target="../slideLayouts/slideLayout18.xml"/></Relationships>
</file>

<file path=ppt/slides/_rels/slide299.xml.rels><?xml version="1.0" encoding="UTF-8" standalone="yes"?>
<Relationships xmlns="http://schemas.openxmlformats.org/package/2006/relationships"><Relationship Id="rId2" Type="http://schemas.openxmlformats.org/officeDocument/2006/relationships/image" Target="../media/image369.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openxmlformats.org/officeDocument/2006/relationships/hyperlink" Target="https://www.pass.org/" TargetMode="External"/><Relationship Id="rId3" Type="http://schemas.openxmlformats.org/officeDocument/2006/relationships/hyperlink" Target="https://sqlpass.org/PASSChapters.aspx" TargetMode="External"/><Relationship Id="rId7" Type="http://schemas.openxmlformats.org/officeDocument/2006/relationships/hyperlink" Target="https://pass.org/Community/GetInvolved/Volunteers.aspx" TargetMode="External"/><Relationship Id="rId2" Type="http://schemas.openxmlformats.org/officeDocument/2006/relationships/hyperlink" Target="https://sqlpass.org/Events/24HoursofPASS.aspx" TargetMode="External"/><Relationship Id="rId1" Type="http://schemas.openxmlformats.org/officeDocument/2006/relationships/slideLayout" Target="../slideLayouts/slideLayout5.xml"/><Relationship Id="rId6" Type="http://schemas.openxmlformats.org/officeDocument/2006/relationships/hyperlink" Target="https://pass.org/marathon/2018/analytics/About.aspx" TargetMode="External"/><Relationship Id="rId5" Type="http://schemas.openxmlformats.org/officeDocument/2006/relationships/hyperlink" Target="http://pass.org/Community/Groups/VirtualGroups.aspx" TargetMode="External"/><Relationship Id="rId4" Type="http://schemas.openxmlformats.org/officeDocument/2006/relationships/hyperlink" Target="https://sqlsaturday.com/" TargetMode="External"/></Relationships>
</file>

<file path=ppt/slides/_rels/slide30.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2" Type="http://schemas.openxmlformats.org/officeDocument/2006/relationships/notesSlide" Target="../notesSlides/notesSlide23.xml"/><Relationship Id="rId1" Type="http://schemas.openxmlformats.org/officeDocument/2006/relationships/slideLayout" Target="../slideLayouts/slideLayout29.xml"/><Relationship Id="rId5" Type="http://schemas.openxmlformats.org/officeDocument/2006/relationships/image" Target="../media/image77.jpeg"/><Relationship Id="rId4" Type="http://schemas.openxmlformats.org/officeDocument/2006/relationships/image" Target="../media/image75.png"/></Relationships>
</file>

<file path=ppt/slides/_rels/slide300.xml.rels><?xml version="1.0" encoding="UTF-8" standalone="yes"?>
<Relationships xmlns="http://schemas.openxmlformats.org/package/2006/relationships"><Relationship Id="rId2" Type="http://schemas.openxmlformats.org/officeDocument/2006/relationships/image" Target="../media/image370.png"/><Relationship Id="rId1" Type="http://schemas.openxmlformats.org/officeDocument/2006/relationships/slideLayout" Target="../slideLayouts/slideLayout18.xml"/></Relationships>
</file>

<file path=ppt/slides/_rels/slide301.xml.rels><?xml version="1.0" encoding="UTF-8" standalone="yes"?>
<Relationships xmlns="http://schemas.openxmlformats.org/package/2006/relationships"><Relationship Id="rId2" Type="http://schemas.openxmlformats.org/officeDocument/2006/relationships/image" Target="../media/image371.png"/><Relationship Id="rId1" Type="http://schemas.openxmlformats.org/officeDocument/2006/relationships/slideLayout" Target="../slideLayouts/slideLayout18.xml"/></Relationships>
</file>

<file path=ppt/slides/_rels/slide302.xml.rels><?xml version="1.0" encoding="UTF-8" standalone="yes"?>
<Relationships xmlns="http://schemas.openxmlformats.org/package/2006/relationships"><Relationship Id="rId3" Type="http://schemas.openxmlformats.org/officeDocument/2006/relationships/image" Target="../media/image372.png"/><Relationship Id="rId2" Type="http://schemas.openxmlformats.org/officeDocument/2006/relationships/notesSlide" Target="../notesSlides/notesSlide258.xml"/><Relationship Id="rId1" Type="http://schemas.openxmlformats.org/officeDocument/2006/relationships/slideLayout" Target="../slideLayouts/slideLayout29.xml"/><Relationship Id="rId4" Type="http://schemas.openxmlformats.org/officeDocument/2006/relationships/image" Target="../media/image373.png"/></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5.xml.rels><?xml version="1.0" encoding="UTF-8" standalone="yes"?>
<Relationships xmlns="http://schemas.openxmlformats.org/package/2006/relationships"><Relationship Id="rId8" Type="http://schemas.openxmlformats.org/officeDocument/2006/relationships/hyperlink" Target="https://docs.microsoft.com/powerapps/maker/canvas-apps/add-scrolling-screen" TargetMode="External"/><Relationship Id="rId3" Type="http://schemas.openxmlformats.org/officeDocument/2006/relationships/hyperlink" Target="http://fleitasarts.com/" TargetMode="External"/><Relationship Id="rId7" Type="http://schemas.openxmlformats.org/officeDocument/2006/relationships/hyperlink" Target="https://youtu.be/swpjfIyXCNA" TargetMode="External"/><Relationship Id="rId2" Type="http://schemas.openxmlformats.org/officeDocument/2006/relationships/notesSlide" Target="../notesSlides/notesSlide259.xml"/><Relationship Id="rId1" Type="http://schemas.openxmlformats.org/officeDocument/2006/relationships/slideLayout" Target="../slideLayouts/slideLayout8.xml"/><Relationship Id="rId6" Type="http://schemas.openxmlformats.org/officeDocument/2006/relationships/hyperlink" Target="https://docs.microsoft.com/power-platform/admin/pricing-billing-skus" TargetMode="External"/><Relationship Id="rId5" Type="http://schemas.openxmlformats.org/officeDocument/2006/relationships/hyperlink" Target="https://docs.microsoft.com/learn/browse/?products=power-platform" TargetMode="External"/><Relationship Id="rId4" Type="http://schemas.openxmlformats.org/officeDocument/2006/relationships/hyperlink" Target="https://github.com/hfleitas/seattle2019" TargetMode="External"/><Relationship Id="rId9" Type="http://schemas.openxmlformats.org/officeDocument/2006/relationships/hyperlink" Target="https://youtu.be/rcrubFa8758" TargetMode="External"/></Relationships>
</file>

<file path=ppt/slides/_rels/slide306.xml.rels><?xml version="1.0" encoding="UTF-8" standalone="yes"?>
<Relationships xmlns="http://schemas.openxmlformats.org/package/2006/relationships"><Relationship Id="rId3" Type="http://schemas.openxmlformats.org/officeDocument/2006/relationships/hyperlink" Target="https://powerusers.microsoft.com/t5/General-Discussion/image-in-a-circle/m-p/9124#M4007" TargetMode="External"/><Relationship Id="rId7" Type="http://schemas.openxmlformats.org/officeDocument/2006/relationships/hyperlink" Target="https://go.microsoft.com/fwlink/?LinkId=2005303&amp;clcid=0x409" TargetMode="External"/><Relationship Id="rId2" Type="http://schemas.openxmlformats.org/officeDocument/2006/relationships/hyperlink" Target="https://youtu.be/SaDEVOgOlYY" TargetMode="External"/><Relationship Id="rId1" Type="http://schemas.openxmlformats.org/officeDocument/2006/relationships/slideLayout" Target="../slideLayouts/slideLayout8.xml"/><Relationship Id="rId6" Type="http://schemas.openxmlformats.org/officeDocument/2006/relationships/hyperlink" Target="https://docs.microsoft.com/powerapps/maker/canvas-apps/webinars-listing" TargetMode="External"/><Relationship Id="rId5" Type="http://schemas.openxmlformats.org/officeDocument/2006/relationships/hyperlink" Target="https://docs.microsoft.com/powerapps/maker/canvas-apps/open-and-run-a-sample-app" TargetMode="External"/><Relationship Id="rId4" Type="http://schemas.openxmlformats.org/officeDocument/2006/relationships/hyperlink" Target="https://docs.microsoft.com/power-bi/service-cortana-intro" TargetMode="External"/></Relationships>
</file>

<file path=ppt/slides/_rels/slide307.xml.rels><?xml version="1.0" encoding="UTF-8" standalone="yes"?>
<Relationships xmlns="http://schemas.openxmlformats.org/package/2006/relationships"><Relationship Id="rId3" Type="http://schemas.openxmlformats.org/officeDocument/2006/relationships/image" Target="../media/image372.png"/><Relationship Id="rId2" Type="http://schemas.openxmlformats.org/officeDocument/2006/relationships/notesSlide" Target="../notesSlides/notesSlide260.xml"/><Relationship Id="rId1" Type="http://schemas.openxmlformats.org/officeDocument/2006/relationships/slideLayout" Target="../slideLayouts/slideLayout29.xml"/><Relationship Id="rId4" Type="http://schemas.openxmlformats.org/officeDocument/2006/relationships/image" Target="../media/image374.png"/></Relationships>
</file>

<file path=ppt/slides/_rels/slide308.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261.xml"/><Relationship Id="rId1" Type="http://schemas.openxmlformats.org/officeDocument/2006/relationships/slideLayout" Target="../slideLayouts/slideLayout20.xml"/><Relationship Id="rId6" Type="http://schemas.openxmlformats.org/officeDocument/2006/relationships/hyperlink" Target="http://bit.ly/mssql2019" TargetMode="External"/><Relationship Id="rId5" Type="http://schemas.openxmlformats.org/officeDocument/2006/relationships/image" Target="../media/image26.png"/><Relationship Id="rId4" Type="http://schemas.microsoft.com/office/2007/relationships/hdphoto" Target="../media/hdphoto1.wdp"/></Relationships>
</file>

<file path=ppt/slides/_rels/slide30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0.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hyperlink" Target="http://fleitasarts.com/" TargetMode="External"/><Relationship Id="rId3" Type="http://schemas.microsoft.com/office/2007/relationships/hdphoto" Target="../media/hdphoto3.wdp"/><Relationship Id="rId7" Type="http://schemas.openxmlformats.org/officeDocument/2006/relationships/image" Target="../media/image31.png"/><Relationship Id="rId12" Type="http://schemas.openxmlformats.org/officeDocument/2006/relationships/image" Target="../media/image35.png"/><Relationship Id="rId2" Type="http://schemas.openxmlformats.org/officeDocument/2006/relationships/image" Target="../media/image375.png"/><Relationship Id="rId16" Type="http://schemas.openxmlformats.org/officeDocument/2006/relationships/image" Target="../media/image1.png"/><Relationship Id="rId1" Type="http://schemas.openxmlformats.org/officeDocument/2006/relationships/slideLayout" Target="../slideLayouts/slideLayout20.xml"/><Relationship Id="rId6" Type="http://schemas.openxmlformats.org/officeDocument/2006/relationships/hyperlink" Target="https://twitter.com/hiramfleitas" TargetMode="External"/><Relationship Id="rId11" Type="http://schemas.openxmlformats.org/officeDocument/2006/relationships/hyperlink" Target="https://github.com/hfleitas" TargetMode="External"/><Relationship Id="rId5" Type="http://schemas.microsoft.com/office/2007/relationships/hdphoto" Target="../media/hdphoto2.wdp"/><Relationship Id="rId15" Type="http://schemas.openxmlformats.org/officeDocument/2006/relationships/hyperlink" Target="mailto:hiram@fleitasarts.com?subject=Power%20Platform%20-%20Game%20Changer" TargetMode="External"/><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hyperlink" Target="https://linkedin.com/in/hiramfleitas"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24.png"/><Relationship Id="rId1" Type="http://schemas.openxmlformats.org/officeDocument/2006/relationships/slideLayout" Target="../slideLayouts/slideLayout21.xml"/><Relationship Id="rId6" Type="http://schemas.openxmlformats.org/officeDocument/2006/relationships/hyperlink" Target="https://dba2o.wordpress.com/training/" TargetMode="External"/><Relationship Id="rId11" Type="http://schemas.openxmlformats.org/officeDocument/2006/relationships/hyperlink" Target="https://dba2o.wordpress.com/2019/10/24/microsoft-data-ai-south-fl-nov-2019-azure-data-factory/" TargetMode="External"/><Relationship Id="rId5" Type="http://schemas.openxmlformats.org/officeDocument/2006/relationships/hyperlink" Target="https://www.linkedin.com/in/hiramfleitas" TargetMode="External"/><Relationship Id="rId10" Type="http://schemas.openxmlformats.org/officeDocument/2006/relationships/hyperlink" Target="https://dba2o.wordpress.com/2019/07/03/%f0%9f%93%a1-big-news/"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hyperlink" Target="http://bit.ly/mssql2019" TargetMode="External"/><Relationship Id="rId5" Type="http://schemas.openxmlformats.org/officeDocument/2006/relationships/image" Target="../media/image26.png"/><Relationship Id="rId4" Type="http://schemas.microsoft.com/office/2007/relationships/hdphoto" Target="../media/hdphoto1.wdp"/></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2.xml"/><Relationship Id="rId1" Type="http://schemas.openxmlformats.org/officeDocument/2006/relationships/slideLayout" Target="../slideLayouts/slideLayout18.xml"/><Relationship Id="rId5" Type="http://schemas.openxmlformats.org/officeDocument/2006/relationships/image" Target="../media/image98.svg"/><Relationship Id="rId4" Type="http://schemas.openxmlformats.org/officeDocument/2006/relationships/image" Target="../media/image97.png"/></Relationships>
</file>

<file path=ppt/slides/_rels/slide5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3.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4.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6.xml"/><Relationship Id="rId1" Type="http://schemas.openxmlformats.org/officeDocument/2006/relationships/slideLayout" Target="../slideLayouts/slideLayout18.xml"/><Relationship Id="rId5" Type="http://schemas.openxmlformats.org/officeDocument/2006/relationships/image" Target="../media/image98.svg"/><Relationship Id="rId4" Type="http://schemas.openxmlformats.org/officeDocument/2006/relationships/image" Target="../media/image97.png"/></Relationships>
</file>

<file path=ppt/slides/_rels/slide5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9.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0.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3.xml"/><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4.xml"/><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6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6.xml"/><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57.xml"/><Relationship Id="rId1" Type="http://schemas.openxmlformats.org/officeDocument/2006/relationships/slideLayout" Target="../slideLayouts/slideLayout18.xml"/></Relationships>
</file>

<file path=ppt/slides/_rels/slide6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8.xml"/><Relationship Id="rId1" Type="http://schemas.openxmlformats.org/officeDocument/2006/relationships/slideLayout" Target="../slideLayouts/slideLayout18.xml"/><Relationship Id="rId4" Type="http://schemas.openxmlformats.org/officeDocument/2006/relationships/image" Target="../media/image117.png"/></Relationships>
</file>

<file path=ppt/slides/_rels/slide6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9.xml"/><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0.xml"/><Relationship Id="rId1" Type="http://schemas.openxmlformats.org/officeDocument/2006/relationships/slideLayout" Target="../slideLayouts/slideLayout18.xml"/><Relationship Id="rId4" Type="http://schemas.openxmlformats.org/officeDocument/2006/relationships/image" Target="../media/image120.png"/></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36.png"/><Relationship Id="rId3" Type="http://schemas.openxmlformats.org/officeDocument/2006/relationships/image" Target="../media/image28.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30.png"/><Relationship Id="rId12" Type="http://schemas.openxmlformats.org/officeDocument/2006/relationships/image" Target="../media/image34.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4.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37.png"/><Relationship Id="rId1" Type="http://schemas.openxmlformats.org/officeDocument/2006/relationships/slideLayout" Target="../slideLayouts/slideLayout22.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1.png"/><Relationship Id="rId10" Type="http://schemas.openxmlformats.org/officeDocument/2006/relationships/image" Target="../media/image32.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2.wdp"/><Relationship Id="rId9" Type="http://schemas.openxmlformats.org/officeDocument/2006/relationships/image" Target="../media/image31.png"/><Relationship Id="rId14" Type="http://schemas.openxmlformats.org/officeDocument/2006/relationships/image" Target="../media/image35.png"/><Relationship Id="rId22" Type="http://schemas.openxmlformats.org/officeDocument/2006/relationships/image" Target="../media/image38.png"/></Relationships>
</file>

<file path=ppt/slides/_rels/slide7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7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4.xml"/><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7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66.xml"/><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67.xm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68.xml"/><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9.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0.xml"/><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1.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3.xml"/><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75.xml"/><Relationship Id="rId1" Type="http://schemas.openxmlformats.org/officeDocument/2006/relationships/slideLayout" Target="../slideLayouts/slideLayout18.xml"/></Relationships>
</file>

<file path=ppt/slides/_rels/slide8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6.xml"/><Relationship Id="rId1" Type="http://schemas.openxmlformats.org/officeDocument/2006/relationships/slideLayout" Target="../slideLayouts/slideLayout18.xml"/></Relationships>
</file>

<file path=ppt/slides/_rels/slide87.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7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8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8.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9.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80.xml"/><Relationship Id="rId1" Type="http://schemas.openxmlformats.org/officeDocument/2006/relationships/slideLayout" Target="../slideLayouts/slideLayout18.xml"/></Relationships>
</file>

<file path=ppt/slides/_rels/slide9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1.xml"/><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82.xml"/><Relationship Id="rId1" Type="http://schemas.openxmlformats.org/officeDocument/2006/relationships/slideLayout" Target="../slideLayouts/slideLayout18.xml"/></Relationships>
</file>

<file path=ppt/slides/_rels/slide9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83.xml"/><Relationship Id="rId1" Type="http://schemas.openxmlformats.org/officeDocument/2006/relationships/slideLayout" Target="../slideLayouts/slideLayout18.xml"/></Relationships>
</file>

<file path=ppt/slides/_rels/slide9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84.xml"/><Relationship Id="rId1" Type="http://schemas.openxmlformats.org/officeDocument/2006/relationships/slideLayout" Target="../slideLayouts/slideLayout18.xml"/></Relationships>
</file>

<file path=ppt/slides/_rels/slide9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5.xml"/><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_rels/slide9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87.xml"/><Relationship Id="rId1" Type="http://schemas.openxmlformats.org/officeDocument/2006/relationships/slideLayout" Target="../slideLayouts/slideLayout18.xml"/></Relationships>
</file>

<file path=ppt/slides/_rels/slide98.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88.xml"/><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89.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B770CE-3AD2-2D48-8C7B-F26D812EFEF9}"/>
              </a:ext>
            </a:extLst>
          </p:cNvPr>
          <p:cNvSpPr>
            <a:spLocks noGrp="1"/>
          </p:cNvSpPr>
          <p:nvPr>
            <p:ph type="body" sz="quarter" idx="12"/>
          </p:nvPr>
        </p:nvSpPr>
        <p:spPr/>
        <p:txBody>
          <a:bodyPr/>
          <a:lstStyle/>
          <a:p>
            <a:r>
              <a:rPr lang="en-US" dirty="0"/>
              <a:t>The Game Changer</a:t>
            </a:r>
          </a:p>
        </p:txBody>
      </p:sp>
      <p:sp>
        <p:nvSpPr>
          <p:cNvPr id="4" name="Title 3">
            <a:extLst>
              <a:ext uri="{FF2B5EF4-FFF2-40B4-BE49-F238E27FC236}">
                <a16:creationId xmlns:a16="http://schemas.microsoft.com/office/drawing/2014/main" id="{AEAFC22A-6496-E745-A231-543E4C153F7C}"/>
              </a:ext>
            </a:extLst>
          </p:cNvPr>
          <p:cNvSpPr>
            <a:spLocks noGrp="1"/>
          </p:cNvSpPr>
          <p:nvPr>
            <p:ph type="title"/>
          </p:nvPr>
        </p:nvSpPr>
        <p:spPr>
          <a:xfrm>
            <a:off x="404611" y="2317394"/>
            <a:ext cx="5597115" cy="614029"/>
          </a:xfrm>
        </p:spPr>
        <p:txBody>
          <a:bodyPr/>
          <a:lstStyle/>
          <a:p>
            <a:r>
              <a:rPr lang="en-US" dirty="0"/>
              <a:t>Power Platform</a:t>
            </a:r>
          </a:p>
        </p:txBody>
      </p:sp>
      <p:sp>
        <p:nvSpPr>
          <p:cNvPr id="3" name="Text Placeholder 2">
            <a:extLst>
              <a:ext uri="{FF2B5EF4-FFF2-40B4-BE49-F238E27FC236}">
                <a16:creationId xmlns:a16="http://schemas.microsoft.com/office/drawing/2014/main" id="{5A7296E9-8CA3-934E-A079-3869DD5ADBBD}"/>
              </a:ext>
            </a:extLst>
          </p:cNvPr>
          <p:cNvSpPr>
            <a:spLocks noGrp="1"/>
          </p:cNvSpPr>
          <p:nvPr>
            <p:ph type="body" sz="quarter" idx="22"/>
          </p:nvPr>
        </p:nvSpPr>
        <p:spPr>
          <a:xfrm>
            <a:off x="404611" y="4108958"/>
            <a:ext cx="5361151" cy="390525"/>
          </a:xfrm>
        </p:spPr>
        <p:txBody>
          <a:bodyPr/>
          <a:lstStyle/>
          <a:p>
            <a:r>
              <a:rPr lang="en-US" dirty="0"/>
              <a:t>Hiram Fleitas</a:t>
            </a:r>
          </a:p>
        </p:txBody>
      </p:sp>
      <p:sp>
        <p:nvSpPr>
          <p:cNvPr id="5" name="Text Placeholder 2">
            <a:hlinkClick r:id="rId3"/>
            <a:extLst>
              <a:ext uri="{FF2B5EF4-FFF2-40B4-BE49-F238E27FC236}">
                <a16:creationId xmlns:a16="http://schemas.microsoft.com/office/drawing/2014/main" id="{BDC86C77-DC7F-4ABA-AEFB-E326B96F4361}"/>
              </a:ext>
            </a:extLst>
          </p:cNvPr>
          <p:cNvSpPr txBox="1">
            <a:spLocks/>
          </p:cNvSpPr>
          <p:nvPr/>
        </p:nvSpPr>
        <p:spPr>
          <a:xfrm>
            <a:off x="404610" y="4499483"/>
            <a:ext cx="5000147"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dirty="0">
                <a:solidFill>
                  <a:schemeClr val="tx1"/>
                </a:solidFill>
              </a:rPr>
              <a:t>Download: </a:t>
            </a:r>
            <a:r>
              <a:rPr lang="en-US" sz="1800" dirty="0">
                <a:solidFill>
                  <a:schemeClr val="tx1"/>
                </a:solidFill>
              </a:rPr>
              <a:t>github.com/hfleitas/seattle2019</a:t>
            </a:r>
          </a:p>
        </p:txBody>
      </p:sp>
    </p:spTree>
    <p:extLst>
      <p:ext uri="{BB962C8B-B14F-4D97-AF65-F5344CB8AC3E}">
        <p14:creationId xmlns:p14="http://schemas.microsoft.com/office/powerpoint/2010/main" val="1798507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t>RLS</a:t>
            </a:r>
          </a:p>
          <a:p>
            <a:pPr>
              <a:buAutoNum type="arabicPeriod" startAt="8"/>
            </a:pPr>
            <a:r>
              <a:rPr lang="en-US" dirty="0"/>
              <a:t>Approvals</a:t>
            </a:r>
          </a:p>
          <a:p>
            <a:pPr>
              <a:buAutoNum type="arabicPeriod" startAt="8"/>
            </a:pPr>
            <a:r>
              <a:rPr lang="en-US" dirty="0"/>
              <a:t>ISS HTTP Web API</a:t>
            </a:r>
          </a:p>
          <a:p>
            <a:pPr>
              <a:buAutoNum type="arabicPeriod" startAt="8"/>
            </a:pPr>
            <a:r>
              <a:rPr lang="en-US" dirty="0"/>
              <a:t>Resources</a:t>
            </a:r>
          </a:p>
        </p:txBody>
      </p:sp>
    </p:spTree>
    <p:extLst>
      <p:ext uri="{BB962C8B-B14F-4D97-AF65-F5344CB8AC3E}">
        <p14:creationId xmlns:p14="http://schemas.microsoft.com/office/powerpoint/2010/main" val="48731541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6855585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44701077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1687134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476347"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0F2EAE52-18D0-4E04-9604-A4AF847B0A37}"/>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4136733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2066460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1760" y="0"/>
            <a:ext cx="9140480" cy="5143500"/>
          </a:xfrm>
          <a:prstGeom prst="rect">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6753255"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2A7DC3D0-8DEE-4FA6-A2A1-6C7E5C49A662}"/>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4323730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9168547" cy="5141132"/>
          </a:xfrm>
          <a:prstGeom prst="rect">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8351044" y="3330118"/>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C90CD57E-F015-4D43-9DF2-ECC53283CE91}"/>
              </a:ext>
            </a:extLst>
          </p:cNvPr>
          <p:cNvSpPr/>
          <p:nvPr/>
        </p:nvSpPr>
        <p:spPr>
          <a:xfrm>
            <a:off x="6566824" y="4145491"/>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8192518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0" y="0"/>
            <a:ext cx="9154217" cy="5137765"/>
          </a:xfrm>
          <a:prstGeom prst="rect">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8644820" y="3341429"/>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7D3A4CD6-5F26-4C31-B411-9F9B1CE2BCDD}"/>
              </a:ext>
            </a:extLst>
          </p:cNvPr>
          <p:cNvSpPr/>
          <p:nvPr/>
        </p:nvSpPr>
        <p:spPr>
          <a:xfrm>
            <a:off x="7257453" y="4149063"/>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47532007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3567"/>
            <a:ext cx="9144000" cy="5136366"/>
          </a:xfrm>
          <a:prstGeom prst="rect">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515093" y="2623352"/>
            <a:ext cx="583519" cy="38617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D7DD65CC-08BE-4B9E-849E-29D627E83CC1}"/>
              </a:ext>
            </a:extLst>
          </p:cNvPr>
          <p:cNvSpPr/>
          <p:nvPr/>
        </p:nvSpPr>
        <p:spPr>
          <a:xfrm>
            <a:off x="1773502" y="3435659"/>
            <a:ext cx="570203" cy="2166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04811227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37149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5719538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4736"/>
            <a:ext cx="9144000" cy="5134028"/>
          </a:xfrm>
          <a:prstGeom prst="rect">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8022432" y="2128341"/>
            <a:ext cx="1109141"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4E333414-988E-47B5-8B96-FC6B2701DC54}"/>
              </a:ext>
            </a:extLst>
          </p:cNvPr>
          <p:cNvSpPr/>
          <p:nvPr/>
        </p:nvSpPr>
        <p:spPr>
          <a:xfrm>
            <a:off x="6337388" y="3248560"/>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2D0AD133-A8E0-43D1-8688-1D5ADD5C66A2}"/>
              </a:ext>
            </a:extLst>
          </p:cNvPr>
          <p:cNvSpPr/>
          <p:nvPr/>
        </p:nvSpPr>
        <p:spPr>
          <a:xfrm>
            <a:off x="6930320" y="2684204"/>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37538343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792"/>
            <a:ext cx="9144000" cy="5141917"/>
          </a:xfrm>
          <a:prstGeom prst="rect">
            <a:avLst/>
          </a:prstGeom>
        </p:spPr>
      </p:pic>
    </p:spTree>
    <p:extLst>
      <p:ext uri="{BB962C8B-B14F-4D97-AF65-F5344CB8AC3E}">
        <p14:creationId xmlns:p14="http://schemas.microsoft.com/office/powerpoint/2010/main" val="49833647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918363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2571"/>
            <a:ext cx="9144000" cy="5138359"/>
          </a:xfrm>
          <a:prstGeom prst="rect">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7157621" y="3161656"/>
            <a:ext cx="196004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4912033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1760" y="0"/>
            <a:ext cx="9140480" cy="5143500"/>
          </a:xfrm>
          <a:prstGeom prst="rect">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7186662" y="2516820"/>
            <a:ext cx="763292" cy="14581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9063239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38748790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6751468" y="2516821"/>
            <a:ext cx="72268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3390623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835490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3896" y="1"/>
            <a:ext cx="13706481" cy="5143500"/>
          </a:xfrm>
          <a:prstGeom prst="rect">
            <a:avLst/>
          </a:prstGeom>
          <a:noFill/>
          <a:extLst>
            <a:ext uri="{909E8E84-426E-40DD-AFC4-6F175D3DCCD1}">
              <a14:hiddenFill xmlns:a14="http://schemas.microsoft.com/office/drawing/2010/main">
                <a:solidFill>
                  <a:srgbClr val="FFFFFF"/>
                </a:solidFill>
              </a14:hiddenFill>
            </a:ext>
          </a:extLst>
        </p:spPr>
      </p:pic>
      <p:sp>
        <p:nvSpPr>
          <p:cNvPr id="16" name="microsoft">
            <a:extLst>
              <a:ext uri="{FF2B5EF4-FFF2-40B4-BE49-F238E27FC236}">
                <a16:creationId xmlns:a16="http://schemas.microsoft.com/office/drawing/2014/main" id="{953E4535-866C-47C9-B4DB-640BBD0CB184}"/>
              </a:ext>
            </a:extLst>
          </p:cNvPr>
          <p:cNvSpPr/>
          <p:nvPr/>
        </p:nvSpPr>
        <p:spPr>
          <a:xfrm>
            <a:off x="215502" y="114044"/>
            <a:ext cx="5129007"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Power Platform</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7972425" y="1931033"/>
            <a:ext cx="494705"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9606EE2E-56C3-4DF4-B08B-77AA1A1558C2}"/>
              </a:ext>
            </a:extLst>
          </p:cNvPr>
          <p:cNvSpPr/>
          <p:nvPr/>
        </p:nvSpPr>
        <p:spPr>
          <a:xfrm>
            <a:off x="7179469" y="3657601"/>
            <a:ext cx="1762988" cy="9840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7882909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660797" y="2981969"/>
            <a:ext cx="573286" cy="4648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BC0D2EC-9543-49B4-8BA6-C53C078AED6C}"/>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78B65EA2-DCC0-49BA-B867-05DB0A4DC5C1}"/>
              </a:ext>
            </a:extLst>
          </p:cNvPr>
          <p:cNvSpPr/>
          <p:nvPr/>
        </p:nvSpPr>
        <p:spPr>
          <a:xfrm>
            <a:off x="2430263" y="1310446"/>
            <a:ext cx="162461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F77DA3C9-3223-4A41-8B87-0843A070CB91}"/>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6357087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471487" y="2571750"/>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5E97985-1317-4FAF-9FD7-0BA3CA404BB2}"/>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65694277-29FA-4F6D-BAD3-EA1209B9C213}"/>
              </a:ext>
            </a:extLst>
          </p:cNvPr>
          <p:cNvSpPr/>
          <p:nvPr/>
        </p:nvSpPr>
        <p:spPr>
          <a:xfrm>
            <a:off x="2430262" y="1310446"/>
            <a:ext cx="448670"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2965872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471487" y="4179094"/>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EBD679AD-06BA-4793-98EA-EA581DB80751}"/>
              </a:ext>
            </a:extLst>
          </p:cNvPr>
          <p:cNvSpPr/>
          <p:nvPr/>
        </p:nvSpPr>
        <p:spPr>
          <a:xfrm>
            <a:off x="135732" y="1310446"/>
            <a:ext cx="176298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62D61F15-D916-4297-BDF9-57F5CF525C85}"/>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9921B0FB-AB7E-45DD-A5C4-3732CC77B26E}"/>
              </a:ext>
            </a:extLst>
          </p:cNvPr>
          <p:cNvSpPr/>
          <p:nvPr/>
        </p:nvSpPr>
        <p:spPr>
          <a:xfrm>
            <a:off x="2430263" y="1310446"/>
            <a:ext cx="5792679"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5848660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471487" y="398210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8643D9AF-547B-4C6A-ABD9-D7CB4890595C}"/>
              </a:ext>
            </a:extLst>
          </p:cNvPr>
          <p:cNvSpPr/>
          <p:nvPr/>
        </p:nvSpPr>
        <p:spPr>
          <a:xfrm>
            <a:off x="46184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2266372-28E1-4925-AA76-E8B84B349625}"/>
              </a:ext>
            </a:extLst>
          </p:cNvPr>
          <p:cNvSpPr/>
          <p:nvPr/>
        </p:nvSpPr>
        <p:spPr>
          <a:xfrm>
            <a:off x="2430262" y="1310446"/>
            <a:ext cx="431454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2645249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1579"/>
            <a:ext cx="9144000" cy="5140343"/>
          </a:xfrm>
          <a:prstGeom prst="rect">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469701" y="2977522"/>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FF03350E-8B60-474E-9576-35602D198696}"/>
              </a:ext>
            </a:extLst>
          </p:cNvPr>
          <p:cNvSpPr/>
          <p:nvPr/>
        </p:nvSpPr>
        <p:spPr>
          <a:xfrm>
            <a:off x="2338387" y="1310446"/>
            <a:ext cx="508556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C69A6B6-FA93-422E-8405-40E82BAAC045}"/>
              </a:ext>
            </a:extLst>
          </p:cNvPr>
          <p:cNvSpPr/>
          <p:nvPr/>
        </p:nvSpPr>
        <p:spPr>
          <a:xfrm>
            <a:off x="41999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53658648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469701" y="277035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2BF5B415-AE55-4F55-B8C1-A003FEA25A30}"/>
              </a:ext>
            </a:extLst>
          </p:cNvPr>
          <p:cNvSpPr/>
          <p:nvPr/>
        </p:nvSpPr>
        <p:spPr>
          <a:xfrm>
            <a:off x="2338386" y="1310446"/>
            <a:ext cx="579120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717430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2022492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Microsoft Flow (DEMO 3)</a:t>
            </a:r>
            <a:endParaRPr lang="en-US" sz="3600" dirty="0"/>
          </a:p>
        </p:txBody>
      </p:sp>
    </p:spTree>
    <p:extLst>
      <p:ext uri="{BB962C8B-B14F-4D97-AF65-F5344CB8AC3E}">
        <p14:creationId xmlns:p14="http://schemas.microsoft.com/office/powerpoint/2010/main" val="5745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1579"/>
            <a:ext cx="9144000" cy="5140343"/>
          </a:xfrm>
          <a:prstGeom prst="rect">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3746302" y="1955898"/>
            <a:ext cx="685800" cy="6858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1898144" y="1615736"/>
            <a:ext cx="766587" cy="766587"/>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 name="Rectangle 6">
            <a:extLst>
              <a:ext uri="{FF2B5EF4-FFF2-40B4-BE49-F238E27FC236}">
                <a16:creationId xmlns:a16="http://schemas.microsoft.com/office/drawing/2014/main" id="{B67C5F50-C959-4405-9D5E-0DFB17466672}"/>
              </a:ext>
            </a:extLst>
          </p:cNvPr>
          <p:cNvSpPr/>
          <p:nvPr/>
        </p:nvSpPr>
        <p:spPr>
          <a:xfrm>
            <a:off x="0" y="171205"/>
            <a:ext cx="9144000" cy="798745"/>
          </a:xfrm>
          <a:prstGeom prst="rect">
            <a:avLst/>
          </a:prstGeom>
        </p:spPr>
        <p:txBody>
          <a:bodyPr wrap="square">
            <a:spAutoFit/>
          </a:bodyPr>
          <a:lstStyle/>
          <a:p>
            <a:pPr algn="ctr" defTabSz="685800"/>
            <a:r>
              <a:rPr lang="en-US" sz="2400" b="1" dirty="0">
                <a:solidFill>
                  <a:srgbClr val="FFFFFF"/>
                </a:solidFill>
                <a:latin typeface="Segoe UI Semibold" panose="020B0702040204020203" pitchFamily="34" charset="0"/>
                <a:cs typeface="Segoe UI Semibold" panose="020B0702040204020203" pitchFamily="34" charset="0"/>
              </a:rPr>
              <a:t>Microsoft Power Platform</a:t>
            </a:r>
          </a:p>
          <a:p>
            <a:pPr algn="ctr" defTabSz="685800">
              <a:lnSpc>
                <a:spcPct val="150000"/>
              </a:lnSpc>
              <a:spcBef>
                <a:spcPts val="450"/>
              </a:spcBef>
            </a:pPr>
            <a:r>
              <a:rPr lang="en-US" sz="1350" dirty="0">
                <a:solidFill>
                  <a:srgbClr val="FFFFFF"/>
                </a:solidFill>
                <a:latin typeface="Segoe UI" panose="020B0502040204020203" pitchFamily="34" charset="0"/>
              </a:rPr>
              <a:t>One </a:t>
            </a:r>
            <a:r>
              <a:rPr lang="en-US" sz="1350" u="sng" dirty="0">
                <a:solidFill>
                  <a:srgbClr val="FFFFFF"/>
                </a:solidFill>
                <a:latin typeface="Segoe UI" panose="020B0502040204020203" pitchFamily="34" charset="0"/>
              </a:rPr>
              <a:t>low-code</a:t>
            </a:r>
            <a:r>
              <a:rPr lang="en-US" sz="1350" dirty="0">
                <a:solidFill>
                  <a:srgbClr val="FFFFFF"/>
                </a:solidFill>
                <a:latin typeface="Segoe UI" panose="020B0502040204020203" pitchFamily="34" charset="0"/>
              </a:rPr>
              <a:t> platform that spans Office 365, Dynamics 365, and standalone applications</a:t>
            </a:r>
          </a:p>
        </p:txBody>
      </p:sp>
      <p:sp>
        <p:nvSpPr>
          <p:cNvPr id="13" name="Rectangle 12">
            <a:extLst>
              <a:ext uri="{FF2B5EF4-FFF2-40B4-BE49-F238E27FC236}">
                <a16:creationId xmlns:a16="http://schemas.microsoft.com/office/drawing/2014/main" id="{3DFC1F2C-4C83-466C-97DD-762915D0DC26}"/>
              </a:ext>
            </a:extLst>
          </p:cNvPr>
          <p:cNvSpPr/>
          <p:nvPr/>
        </p:nvSpPr>
        <p:spPr>
          <a:xfrm>
            <a:off x="1621130" y="2547310"/>
            <a:ext cx="1320618"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 BI</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3655018" y="2547310"/>
            <a:ext cx="1833965"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Apps</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Application development</a:t>
            </a:r>
          </a:p>
        </p:txBody>
      </p:sp>
      <p:sp>
        <p:nvSpPr>
          <p:cNvPr id="21" name="Rectangle 20">
            <a:extLst>
              <a:ext uri="{FF2B5EF4-FFF2-40B4-BE49-F238E27FC236}">
                <a16:creationId xmlns:a16="http://schemas.microsoft.com/office/drawing/2014/main" id="{618228EF-345F-4793-B6B2-A812D1FAF37F}"/>
              </a:ext>
            </a:extLst>
          </p:cNvPr>
          <p:cNvSpPr/>
          <p:nvPr/>
        </p:nvSpPr>
        <p:spPr>
          <a:xfrm>
            <a:off x="6054397" y="2539009"/>
            <a:ext cx="1616340"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Flow</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2664731" y="1999030"/>
            <a:ext cx="1523975"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4955293" y="1999030"/>
            <a:ext cx="152397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4553086" y="3251664"/>
            <a:ext cx="0" cy="264685"/>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2718355"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6387817"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4">
            <a:duotone>
              <a:prstClr val="black"/>
              <a:schemeClr val="accent6">
                <a:tint val="45000"/>
                <a:satMod val="400000"/>
              </a:schemeClr>
            </a:duotone>
            <a:lum bright="-100000" contrast="-100000"/>
          </a:blip>
          <a:stretch>
            <a:fillRect/>
          </a:stretch>
        </p:blipFill>
        <p:spPr>
          <a:xfrm>
            <a:off x="2083967" y="1852243"/>
            <a:ext cx="394940" cy="299019"/>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6232538" y="3830461"/>
            <a:ext cx="310557" cy="402944"/>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grpSp>
      <p:sp>
        <p:nvSpPr>
          <p:cNvPr id="69" name="Rectangle 68">
            <a:extLst>
              <a:ext uri="{FF2B5EF4-FFF2-40B4-BE49-F238E27FC236}">
                <a16:creationId xmlns:a16="http://schemas.microsoft.com/office/drawing/2014/main" id="{8EC1F6E6-D9CE-47A3-85B7-2E4FE53EA46A}"/>
              </a:ext>
            </a:extLst>
          </p:cNvPr>
          <p:cNvSpPr/>
          <p:nvPr/>
        </p:nvSpPr>
        <p:spPr>
          <a:xfrm>
            <a:off x="5881751" y="4263655"/>
            <a:ext cx="1012137"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Common </a:t>
            </a:r>
          </a:p>
          <a:p>
            <a:pPr algn="ctr" defTabSz="659045">
              <a:defRPr/>
            </a:pPr>
            <a:r>
              <a:rPr lang="en-US" sz="1350" spc="-72" dirty="0">
                <a:solidFill>
                  <a:prstClr val="white"/>
                </a:solidFill>
                <a:latin typeface="Segoe UI Semibold"/>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2704734" y="3972162"/>
            <a:ext cx="194598" cy="167357"/>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2538207" y="3972991"/>
            <a:ext cx="194599" cy="165699"/>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2478907" y="3834279"/>
            <a:ext cx="480553" cy="443125"/>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2240146" y="4301389"/>
            <a:ext cx="956416"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Data</a:t>
            </a:r>
          </a:p>
          <a:p>
            <a:pPr algn="ctr" defTabSz="659045">
              <a:defRPr/>
            </a:pPr>
            <a:r>
              <a:rPr lang="en-US" sz="1350" spc="-72" dirty="0">
                <a:solidFill>
                  <a:prstClr val="white"/>
                </a:solidFill>
                <a:latin typeface="Segoe UI Semibold"/>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3375220" y="1178113"/>
            <a:ext cx="2539459" cy="30008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2718355"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6479270" y="1615736"/>
            <a:ext cx="766587" cy="766587"/>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5" name="Oval 24">
            <a:extLst>
              <a:ext uri="{FF2B5EF4-FFF2-40B4-BE49-F238E27FC236}">
                <a16:creationId xmlns:a16="http://schemas.microsoft.com/office/drawing/2014/main" id="{CF48C02A-C6BB-4350-88FB-5C9CFF522D65}"/>
              </a:ext>
            </a:extLst>
          </p:cNvPr>
          <p:cNvSpPr/>
          <p:nvPr/>
        </p:nvSpPr>
        <p:spPr>
          <a:xfrm>
            <a:off x="4188706" y="1615736"/>
            <a:ext cx="766587" cy="766587"/>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6668815" y="1842230"/>
            <a:ext cx="387497" cy="313599"/>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dirty="0">
              <a:solidFill>
                <a:srgbClr val="002050"/>
              </a:solidFill>
              <a:latin typeface="Segoe UI"/>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4374528" y="1840171"/>
            <a:ext cx="394943" cy="317717"/>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a:solidFill>
                <a:srgbClr val="002050"/>
              </a:solidFill>
              <a:latin typeface="Segoe UI"/>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4553086"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87253" y="3886496"/>
            <a:ext cx="685800" cy="6858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39033" y="3934717"/>
            <a:ext cx="685800" cy="6858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8095638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91280287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6515100" y="2354203"/>
            <a:ext cx="102870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6067B5D8-8AE4-4103-9812-5DEF4A168EC6}"/>
              </a:ext>
            </a:extLst>
          </p:cNvPr>
          <p:cNvSpPr/>
          <p:nvPr/>
        </p:nvSpPr>
        <p:spPr>
          <a:xfrm>
            <a:off x="2628901" y="2267485"/>
            <a:ext cx="668438" cy="7757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3351135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6501379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2718454" y="2997141"/>
            <a:ext cx="1803540" cy="20326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976AF063-8D85-43E0-B4F5-8DA6F277B9A8}"/>
              </a:ext>
            </a:extLst>
          </p:cNvPr>
          <p:cNvSpPr/>
          <p:nvPr/>
        </p:nvSpPr>
        <p:spPr>
          <a:xfrm>
            <a:off x="7383323" y="2235994"/>
            <a:ext cx="567671"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1979717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1579"/>
            <a:ext cx="9144000" cy="5140343"/>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420663" y="4090601"/>
            <a:ext cx="5157181" cy="323165"/>
          </a:xfrm>
          <a:prstGeom prst="rect">
            <a:avLst/>
          </a:prstGeom>
        </p:spPr>
        <p:txBody>
          <a:bodyPr wrap="non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3999254" y="2700338"/>
            <a:ext cx="2664676" cy="13902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52D7E32-08D5-4632-A7F6-54562D81A04D}"/>
              </a:ext>
            </a:extLst>
          </p:cNvPr>
          <p:cNvPicPr>
            <a:picLocks noChangeAspect="1"/>
          </p:cNvPicPr>
          <p:nvPr/>
        </p:nvPicPr>
        <p:blipFill>
          <a:blip r:embed="rId3"/>
          <a:stretch>
            <a:fillRect/>
          </a:stretch>
        </p:blipFill>
        <p:spPr>
          <a:xfrm>
            <a:off x="0" y="2225"/>
            <a:ext cx="9144000" cy="5139049"/>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199745" y="4090601"/>
            <a:ext cx="5907090" cy="323165"/>
          </a:xfrm>
          <a:prstGeom prst="rect">
            <a:avLst/>
          </a:prstGeom>
        </p:spPr>
        <p:txBody>
          <a:bodyPr wrap="squar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_(V2)'</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4153290" y="2571750"/>
            <a:ext cx="2792259" cy="151885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97901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7172325" y="3068240"/>
            <a:ext cx="607219"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7736429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268912" y="0"/>
            <a:ext cx="8606177"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585776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489979" y="3067051"/>
            <a:ext cx="2996546"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3162108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A8BA7D2-51A2-4275-BC83-6ECB7101EDD1}"/>
              </a:ext>
            </a:extLst>
          </p:cNvPr>
          <p:cNvPicPr>
            <a:picLocks noChangeAspect="1"/>
          </p:cNvPicPr>
          <p:nvPr/>
        </p:nvPicPr>
        <p:blipFill>
          <a:blip r:embed="rId3"/>
          <a:stretch>
            <a:fillRect/>
          </a:stretch>
        </p:blipFill>
        <p:spPr>
          <a:xfrm>
            <a:off x="0" y="2225"/>
            <a:ext cx="9144000" cy="5139049"/>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373247" y="3222694"/>
            <a:ext cx="3546362"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938054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1462940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1579"/>
            <a:ext cx="9144000" cy="5140343"/>
          </a:xfrm>
          <a:prstGeom prst="rect">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4"/>
          <a:srcRect b="-1108"/>
          <a:stretch/>
        </p:blipFill>
        <p:spPr>
          <a:xfrm>
            <a:off x="1578398" y="3012847"/>
            <a:ext cx="4722390" cy="1752035"/>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7480728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8543891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92747213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0172098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4348"/>
            <a:ext cx="9144000" cy="5134805"/>
          </a:xfrm>
          <a:prstGeom prst="rect">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8301676" y="79301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7958776" y="1097280"/>
            <a:ext cx="685800" cy="6858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7" y="1858973"/>
            <a:ext cx="3193514" cy="1425554"/>
          </a:xfrm>
          <a:prstGeom prst="rect">
            <a:avLst/>
          </a:prstGeom>
        </p:spPr>
        <p:txBody>
          <a:bodyPr wrap="square" lIns="107571" tIns="67232" rIns="107571" bIns="67232" anchor="ctr">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Run your business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in real time with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2791292" y="-70834"/>
            <a:ext cx="7700957" cy="5132477"/>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465482" y="3926205"/>
            <a:ext cx="685800" cy="6858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4679795" y="4326807"/>
            <a:ext cx="685800" cy="6858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9807055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64182404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849123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0658621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2178112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3765"/>
            <a:ext cx="9144000" cy="5129735"/>
          </a:xfrm>
          <a:prstGeom prst="rect">
            <a:avLst/>
          </a:prstGeom>
        </p:spPr>
      </p:pic>
    </p:spTree>
    <p:extLst>
      <p:ext uri="{BB962C8B-B14F-4D97-AF65-F5344CB8AC3E}">
        <p14:creationId xmlns:p14="http://schemas.microsoft.com/office/powerpoint/2010/main" val="181101475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09373722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452490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8" y="2109138"/>
            <a:ext cx="5190510" cy="925224"/>
          </a:xfrm>
          <a:prstGeom prst="rect">
            <a:avLst/>
          </a:prstGeom>
        </p:spPr>
        <p:txBody>
          <a:bodyPr wrap="square" lIns="107571" tIns="67232" rIns="107571" bIns="67232" anchor="ctr">
            <a:spAutoFit/>
          </a:bodyPr>
          <a:lstStyle/>
          <a:p>
            <a:pPr defTabSz="699354" fontAlgn="base">
              <a:lnSpc>
                <a:spcPct val="95000"/>
              </a:lnSpc>
              <a:spcBef>
                <a:spcPct val="0"/>
              </a:spcBef>
              <a:defRPr/>
            </a:pPr>
            <a:r>
              <a:rPr lang="en-US" sz="2700" spc="-75" dirty="0">
                <a:ln w="3175">
                  <a:noFill/>
                </a:ln>
                <a:solidFill>
                  <a:prstClr val="white"/>
                </a:solidFill>
                <a:latin typeface="Segoe UI Light"/>
                <a:cs typeface="Segoe UI" pitchFamily="34" charset="0"/>
              </a:rPr>
              <a:t>Ask questions </a:t>
            </a:r>
            <a:br>
              <a:rPr lang="en-US" sz="2700" spc="-75" dirty="0">
                <a:ln w="3175">
                  <a:noFill/>
                </a:ln>
                <a:solidFill>
                  <a:prstClr val="white"/>
                </a:solidFill>
                <a:latin typeface="Segoe UI Light"/>
                <a:cs typeface="Segoe UI" pitchFamily="34" charset="0"/>
              </a:rPr>
            </a:br>
            <a:r>
              <a:rPr lang="en-US" sz="2700" spc="-75" dirty="0">
                <a:ln w="3175">
                  <a:noFill/>
                </a:ln>
                <a:solidFill>
                  <a:prstClr val="white"/>
                </a:solidFill>
                <a:latin typeface="Segoe UI Light"/>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2786367" y="-70834"/>
            <a:ext cx="7700957" cy="5132477"/>
          </a:xfrm>
          <a:prstGeom prst="rect">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5026981" y="226748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8103417-8D85-4AF2-8FDB-34A07B33324A}"/>
              </a:ext>
            </a:extLst>
          </p:cNvPr>
          <p:cNvSpPr/>
          <p:nvPr/>
        </p:nvSpPr>
        <p:spPr>
          <a:xfrm>
            <a:off x="4900613" y="4036219"/>
            <a:ext cx="857249" cy="23574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5740603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1"/>
            <a:ext cx="9143999" cy="5143499"/>
          </a:xfrm>
          <a:prstGeom prst="rect">
            <a:avLst/>
          </a:prstGeom>
        </p:spPr>
      </p:pic>
    </p:spTree>
    <p:extLst>
      <p:ext uri="{BB962C8B-B14F-4D97-AF65-F5344CB8AC3E}">
        <p14:creationId xmlns:p14="http://schemas.microsoft.com/office/powerpoint/2010/main" val="240560705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sz="3600" dirty="0"/>
              <a:t>Data Gateway</a:t>
            </a:r>
            <a:br>
              <a:rPr lang="en-US" sz="3600" dirty="0"/>
            </a:br>
            <a:r>
              <a:rPr lang="en-US" sz="3600" dirty="0"/>
              <a:t>(DEMO 4)</a:t>
            </a:r>
          </a:p>
        </p:txBody>
      </p:sp>
    </p:spTree>
    <p:extLst>
      <p:ext uri="{BB962C8B-B14F-4D97-AF65-F5344CB8AC3E}">
        <p14:creationId xmlns:p14="http://schemas.microsoft.com/office/powerpoint/2010/main" val="306604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6629400" y="1152790"/>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AE69702-740C-4463-960E-F52BF32FAD4D}"/>
              </a:ext>
            </a:extLst>
          </p:cNvPr>
          <p:cNvSpPr/>
          <p:nvPr/>
        </p:nvSpPr>
        <p:spPr>
          <a:xfrm>
            <a:off x="7722395" y="509588"/>
            <a:ext cx="342900"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9490305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1579"/>
            <a:ext cx="9144000" cy="5140343"/>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177058" y="2341119"/>
            <a:ext cx="4789885" cy="2802381"/>
          </a:xfrm>
          <a:prstGeom prst="rect">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4559497" y="2033161"/>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59519761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1862164"/>
            <a:ext cx="4225528" cy="3302576"/>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6"/>
          <a:stretch>
            <a:fillRect/>
          </a:stretch>
        </p:blipFill>
        <p:spPr>
          <a:xfrm>
            <a:off x="446485" y="920792"/>
            <a:ext cx="3880556" cy="3929063"/>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7"/>
          <a:stretch>
            <a:fillRect/>
          </a:stretch>
        </p:blipFill>
        <p:spPr>
          <a:xfrm>
            <a:off x="4224628" y="695708"/>
            <a:ext cx="3880556" cy="3577387"/>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8"/>
          <a:srcRect l="10500" t="2919" r="10305" b="69859"/>
          <a:stretch/>
        </p:blipFill>
        <p:spPr>
          <a:xfrm>
            <a:off x="6407944" y="481801"/>
            <a:ext cx="2871788" cy="2634797"/>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6"/>
          <a:stretch>
            <a:fillRect/>
          </a:stretch>
        </p:blipFill>
        <p:spPr>
          <a:xfrm>
            <a:off x="2286000" y="257175"/>
            <a:ext cx="4572000" cy="462915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527" y="883067"/>
            <a:ext cx="11109497" cy="4164615"/>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11268" y="1185217"/>
            <a:ext cx="5705945" cy="3769441"/>
          </a:xfrm>
          <a:prstGeom prst="rect">
            <a:avLst/>
          </a:prstGeom>
          <a:noFill/>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0"/>
              </a:spcBef>
              <a:buClr>
                <a:srgbClr val="F2C812"/>
              </a:buClr>
              <a:buNone/>
            </a:pPr>
            <a:r>
              <a:rPr lang="en-US" sz="3300" dirty="0">
                <a:solidFill>
                  <a:prstClr val="white"/>
                </a:solidFill>
                <a:latin typeface="Calibri" panose="020F0502020204030204"/>
              </a:rPr>
              <a:t>5 Million + </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user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0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organization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01696" y="214786"/>
            <a:ext cx="8740142" cy="695955"/>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577" fontAlgn="base">
              <a:lnSpc>
                <a:spcPct val="95000"/>
              </a:lnSpc>
              <a:defRPr/>
            </a:pPr>
            <a:r>
              <a:rPr lang="en-US" sz="3525" spc="-74" dirty="0">
                <a:ln w="3175">
                  <a:noFill/>
                </a:ln>
                <a:solidFill>
                  <a:prstClr val="white"/>
                </a:solidFill>
                <a:latin typeface="Segoe UI Light"/>
                <a:cs typeface="Segoe UI" pitchFamily="34" charset="0"/>
              </a:rPr>
              <a:t>Fastest Growing BI Vendor</a:t>
            </a:r>
          </a:p>
        </p:txBody>
      </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682228" y="144409"/>
            <a:ext cx="5150644" cy="2221706"/>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2400300" y="1217162"/>
            <a:ext cx="4572000" cy="3643313"/>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261502558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4626161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71367830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6622740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420598798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665599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2286000" y="957263"/>
            <a:ext cx="4572000" cy="3228975"/>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5605133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2286000" y="464344"/>
            <a:ext cx="4572000" cy="4214813"/>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64180603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3047233" y="1132309"/>
            <a:ext cx="3049534" cy="2878883"/>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35362809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2286000" y="360760"/>
            <a:ext cx="4572000" cy="4421981"/>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022675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890" r="9072"/>
          <a:stretch/>
        </p:blipFill>
        <p:spPr bwMode="auto">
          <a:xfrm>
            <a:off x="1249385" y="1451629"/>
            <a:ext cx="6645229" cy="356097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383017" y="171205"/>
            <a:ext cx="6377966" cy="1292662"/>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Build apps without limits</a:t>
            </a:r>
          </a:p>
          <a:p>
            <a:pPr algn="ctr" defTabSz="685800"/>
            <a:r>
              <a:rPr lang="en-US" sz="12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p>
        </p:txBody>
      </p:sp>
    </p:spTree>
    <p:extLst>
      <p:ext uri="{BB962C8B-B14F-4D97-AF65-F5344CB8AC3E}">
        <p14:creationId xmlns:p14="http://schemas.microsoft.com/office/powerpoint/2010/main" val="307334360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58308278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81926725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35406754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3143250" y="2571750"/>
            <a:ext cx="2857500" cy="1143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61003812"/>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50780" y="26194"/>
            <a:ext cx="299135" cy="455606"/>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04721956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Cortana</a:t>
            </a:r>
            <a:br>
              <a:rPr lang="en-US" dirty="0"/>
            </a:br>
            <a:r>
              <a:rPr lang="en-US" dirty="0"/>
              <a:t>(DEMO 5)</a:t>
            </a:r>
            <a:endParaRPr lang="en-US" sz="3600" dirty="0"/>
          </a:p>
        </p:txBody>
      </p:sp>
    </p:spTree>
    <p:extLst>
      <p:ext uri="{BB962C8B-B14F-4D97-AF65-F5344CB8AC3E}">
        <p14:creationId xmlns:p14="http://schemas.microsoft.com/office/powerpoint/2010/main" val="236280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38944692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449224843"/>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22549135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4"/>
          <a:stretch>
            <a:fillRect/>
          </a:stretch>
        </p:blipFill>
        <p:spPr>
          <a:xfrm>
            <a:off x="0" y="-10620"/>
            <a:ext cx="4014128" cy="3124249"/>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3" name="Rectangle 12">
            <a:extLst>
              <a:ext uri="{FF2B5EF4-FFF2-40B4-BE49-F238E27FC236}">
                <a16:creationId xmlns:a16="http://schemas.microsoft.com/office/drawing/2014/main" id="{4951CB43-C709-49E6-A87E-272B43B2094A}"/>
              </a:ext>
            </a:extLst>
          </p:cNvPr>
          <p:cNvSpPr/>
          <p:nvPr/>
        </p:nvSpPr>
        <p:spPr>
          <a:xfrm>
            <a:off x="719666" y="171205"/>
            <a:ext cx="7704666" cy="1107996"/>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Innovate faster</a:t>
            </a:r>
          </a:p>
          <a:p>
            <a:pPr algn="ctr" defTabSz="685800"/>
            <a:r>
              <a:rPr lang="en-US" sz="12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27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866" y="1389653"/>
            <a:ext cx="8380265" cy="3594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829832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4"/>
          <a:srcRect l="-1" t="228" r="247" b="476"/>
          <a:stretch/>
        </p:blipFill>
        <p:spPr>
          <a:xfrm>
            <a:off x="1" y="-10620"/>
            <a:ext cx="4014128" cy="3127489"/>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38647" y="1757932"/>
            <a:ext cx="1624379" cy="1629812"/>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4083" y="2103833"/>
            <a:ext cx="935835" cy="935835"/>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5436257" y="1157901"/>
            <a:ext cx="1965908" cy="2850780"/>
          </a:xfrm>
          <a:prstGeom prst="rect">
            <a:avLst/>
          </a:prstGeom>
          <a:noFill/>
        </p:spPr>
        <p:txBody>
          <a:bodyPr wrap="square" rtlCol="0">
            <a:spAutoFit/>
          </a:bodyPr>
          <a:lstStyle/>
          <a:p>
            <a:r>
              <a:rPr lang="en-US" sz="17925"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5"/>
          <a:stretch>
            <a:fillRect/>
          </a:stretch>
        </p:blipFill>
        <p:spPr>
          <a:xfrm>
            <a:off x="0" y="-10620"/>
            <a:ext cx="1886156" cy="3124249"/>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6338776" y="4016808"/>
            <a:ext cx="685800" cy="6858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H="1" flipV="1">
            <a:off x="6340674" y="3017371"/>
            <a:ext cx="685800" cy="6858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4"/>
          <a:stretch>
            <a:fillRect/>
          </a:stretch>
        </p:blipFill>
        <p:spPr>
          <a:xfrm>
            <a:off x="2152650" y="461852"/>
            <a:ext cx="4838700" cy="4219797"/>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4"/>
          <a:stretch>
            <a:fillRect/>
          </a:stretch>
        </p:blipFill>
        <p:spPr>
          <a:xfrm>
            <a:off x="2155053" y="461852"/>
            <a:ext cx="4833894" cy="4219797"/>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0614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453503" y="-1223"/>
            <a:ext cx="8236994" cy="5144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8381070"/>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4"/>
          <a:stretch>
            <a:fillRect/>
          </a:stretch>
        </p:blipFill>
        <p:spPr>
          <a:xfrm>
            <a:off x="2155053" y="459746"/>
            <a:ext cx="4833894" cy="4224009"/>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3689637"/>
            <a:ext cx="4105637" cy="826703"/>
          </a:xfrm>
          <a:prstGeom prst="rect">
            <a:avLst/>
          </a:prstGeom>
        </p:spPr>
        <p:txBody>
          <a:bodyPr/>
          <a:lstStyle/>
          <a:p>
            <a:r>
              <a:rPr lang="en-US" dirty="0"/>
              <a:t>(DEMO 6)</a:t>
            </a:r>
            <a:endParaRPr lang="en-US" sz="3600" dirty="0"/>
          </a:p>
        </p:txBody>
      </p:sp>
      <p:sp>
        <p:nvSpPr>
          <p:cNvPr id="3" name="Title 1">
            <a:extLst>
              <a:ext uri="{FF2B5EF4-FFF2-40B4-BE49-F238E27FC236}">
                <a16:creationId xmlns:a16="http://schemas.microsoft.com/office/drawing/2014/main" id="{CF17E79C-391F-40D7-8C52-00094196AFCD}"/>
              </a:ext>
            </a:extLst>
          </p:cNvPr>
          <p:cNvSpPr txBox="1">
            <a:spLocks/>
          </p:cNvSpPr>
          <p:nvPr/>
        </p:nvSpPr>
        <p:spPr>
          <a:xfrm>
            <a:off x="466362" y="2409476"/>
            <a:ext cx="4105637" cy="1804077"/>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Publish &amp; Share </a:t>
            </a:r>
            <a:br>
              <a:rPr lang="en-US" dirty="0"/>
            </a:br>
            <a:r>
              <a:rPr lang="en-US" sz="3200" dirty="0"/>
              <a:t>Security Governance</a:t>
            </a:r>
            <a:endParaRPr lang="en-US" sz="3600" dirty="0"/>
          </a:p>
        </p:txBody>
      </p:sp>
    </p:spTree>
    <p:extLst>
      <p:ext uri="{BB962C8B-B14F-4D97-AF65-F5344CB8AC3E}">
        <p14:creationId xmlns:p14="http://schemas.microsoft.com/office/powerpoint/2010/main" val="347989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4519668" y="2828219"/>
            <a:ext cx="523819"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886200" y="4174675"/>
            <a:ext cx="685800" cy="6858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591"/>
            <a:ext cx="9144000" cy="5142319"/>
          </a:xfrm>
          <a:prstGeom prst="rect">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00013" y="845233"/>
            <a:ext cx="325041"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2668833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21316"/>
            <a:ext cx="685800" cy="6858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flipV="1">
            <a:off x="5194739" y="2826723"/>
            <a:ext cx="685800" cy="6858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838362453"/>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272218777"/>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591"/>
            <a:ext cx="9144000" cy="5142319"/>
          </a:xfrm>
          <a:prstGeom prst="rect">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4191930" y="3439717"/>
            <a:ext cx="994433" cy="2786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67572795"/>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750" y="592931"/>
            <a:ext cx="8572500" cy="3957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53616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114" y="0"/>
            <a:ext cx="9139772" cy="5143500"/>
          </a:xfrm>
          <a:prstGeom prst="rect">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4050507" y="1475185"/>
            <a:ext cx="177879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Rectangle 5">
            <a:extLst>
              <a:ext uri="{FF2B5EF4-FFF2-40B4-BE49-F238E27FC236}">
                <a16:creationId xmlns:a16="http://schemas.microsoft.com/office/drawing/2014/main" id="{DCD73EC8-2446-49F1-A726-DF19D3B45143}"/>
              </a:ext>
            </a:extLst>
          </p:cNvPr>
          <p:cNvSpPr/>
          <p:nvPr/>
        </p:nvSpPr>
        <p:spPr>
          <a:xfrm>
            <a:off x="5913573" y="1794394"/>
            <a:ext cx="3030402" cy="28347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484550" y="4502157"/>
            <a:ext cx="685800" cy="6858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4"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7682"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1"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2766737" y="414127"/>
            <a:ext cx="1950520" cy="3467711"/>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4657816" y="639075"/>
            <a:ext cx="2167034" cy="3850008"/>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6761463" y="864023"/>
            <a:ext cx="2167034" cy="3850008"/>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15504" y="1895825"/>
            <a:ext cx="2425556" cy="1454244"/>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Get from insights to actions quickly</a:t>
            </a:r>
          </a:p>
        </p:txBody>
      </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2" y="0"/>
            <a:ext cx="2893219" cy="51435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0800" y="2185933"/>
            <a:ext cx="2893622" cy="385817"/>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2091518" y="3890341"/>
            <a:ext cx="685800" cy="6858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2554" y="0"/>
            <a:ext cx="2893219" cy="51435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230" y="0"/>
            <a:ext cx="2893219" cy="5143500"/>
          </a:xfrm>
          <a:prstGeom prst="rect">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846425" y="3890341"/>
            <a:ext cx="685800" cy="6858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249109217"/>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36082644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59662539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223762975"/>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008667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561956" y="907256"/>
            <a:ext cx="12687261" cy="4222479"/>
          </a:xfrm>
          <a:prstGeom prst="rect">
            <a:avLst/>
          </a:prstGeom>
          <a:noFill/>
          <a:extLst>
            <a:ext uri="{909E8E84-426E-40DD-AFC4-6F175D3DCCD1}">
              <a14:hiddenFill xmlns:a14="http://schemas.microsoft.com/office/drawing/2010/main">
                <a:solidFill>
                  <a:srgbClr val="FFFFFF"/>
                </a:solidFill>
              </a14:hiddenFill>
            </a:ext>
          </a:extLst>
        </p:spPr>
      </p:pic>
      <p:sp>
        <p:nvSpPr>
          <p:cNvPr id="9" name="microsoft">
            <a:extLst>
              <a:ext uri="{FF2B5EF4-FFF2-40B4-BE49-F238E27FC236}">
                <a16:creationId xmlns:a16="http://schemas.microsoft.com/office/drawing/2014/main" id="{A788F532-9FED-46BF-B360-4BF26B40C411}"/>
              </a:ext>
            </a:extLst>
          </p:cNvPr>
          <p:cNvSpPr/>
          <p:nvPr/>
        </p:nvSpPr>
        <p:spPr>
          <a:xfrm>
            <a:off x="215503" y="114044"/>
            <a:ext cx="3224326"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228178"/>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8195722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242748048"/>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98562597"/>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01007074"/>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53274737"/>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8301498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51096119"/>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76990424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223725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168080" y="1"/>
            <a:ext cx="8807841" cy="5145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2566237"/>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2173659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26339" y="0"/>
            <a:ext cx="9144000" cy="5140343"/>
          </a:xfrm>
          <a:prstGeom prst="rect">
            <a:avLst/>
          </a:prstGeom>
        </p:spPr>
      </p:pic>
    </p:spTree>
    <p:extLst>
      <p:ext uri="{BB962C8B-B14F-4D97-AF65-F5344CB8AC3E}">
        <p14:creationId xmlns:p14="http://schemas.microsoft.com/office/powerpoint/2010/main" val="1513771300"/>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83766376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71754570"/>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1933557"/>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351510049"/>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454561655"/>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rotWithShape="1">
          <a:blip r:embed="rId3"/>
          <a:srcRect t="1229" b="7799"/>
          <a:stretch/>
        </p:blipFill>
        <p:spPr>
          <a:xfrm>
            <a:off x="1412659" y="0"/>
            <a:ext cx="6318682" cy="5143500"/>
          </a:xfrm>
          <a:prstGeom prst="rect">
            <a:avLst/>
          </a:prstGeom>
        </p:spPr>
      </p:pic>
    </p:spTree>
    <p:extLst>
      <p:ext uri="{BB962C8B-B14F-4D97-AF65-F5344CB8AC3E}">
        <p14:creationId xmlns:p14="http://schemas.microsoft.com/office/powerpoint/2010/main" val="3852177443"/>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11285" y="2409477"/>
            <a:ext cx="4630366" cy="2106864"/>
          </a:xfrm>
          <a:prstGeom prst="rect">
            <a:avLst/>
          </a:prstGeom>
        </p:spPr>
        <p:txBody>
          <a:bodyPr/>
          <a:lstStyle/>
          <a:p>
            <a:r>
              <a:rPr lang="en-US" dirty="0"/>
              <a:t>Forms – Ai builder</a:t>
            </a:r>
            <a:br>
              <a:rPr lang="en-US" dirty="0"/>
            </a:br>
            <a:r>
              <a:rPr lang="en-US" dirty="0"/>
              <a:t>(DEMO 7)</a:t>
            </a:r>
            <a:endParaRPr lang="en-US" sz="3600" dirty="0"/>
          </a:p>
        </p:txBody>
      </p:sp>
    </p:spTree>
    <p:extLst>
      <p:ext uri="{BB962C8B-B14F-4D97-AF65-F5344CB8AC3E}">
        <p14:creationId xmlns:p14="http://schemas.microsoft.com/office/powerpoint/2010/main" val="313343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1F9B73-2F91-4C25-AF4A-6CEFAE69FC10}"/>
              </a:ext>
            </a:extLst>
          </p:cNvPr>
          <p:cNvPicPr>
            <a:picLocks noChangeAspect="1"/>
          </p:cNvPicPr>
          <p:nvPr/>
        </p:nvPicPr>
        <p:blipFill>
          <a:blip r:embed="rId3"/>
          <a:stretch>
            <a:fillRect/>
          </a:stretch>
        </p:blipFill>
        <p:spPr>
          <a:xfrm>
            <a:off x="3122253" y="0"/>
            <a:ext cx="2899493" cy="5143500"/>
          </a:xfrm>
          <a:prstGeom prst="rect">
            <a:avLst/>
          </a:prstGeom>
        </p:spPr>
      </p:pic>
    </p:spTree>
    <p:extLst>
      <p:ext uri="{BB962C8B-B14F-4D97-AF65-F5344CB8AC3E}">
        <p14:creationId xmlns:p14="http://schemas.microsoft.com/office/powerpoint/2010/main" val="12318431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158564" y="2047875"/>
            <a:ext cx="1313621" cy="1047750"/>
          </a:xfrm>
        </p:spPr>
        <p:txBody>
          <a:bodyPr anchor="ctr">
            <a:noAutofit/>
          </a:bodyPr>
          <a:lstStyle/>
          <a:p>
            <a:pPr defTabSz="685730"/>
            <a:r>
              <a:rPr lang="en-US" sz="2100" spc="-75" dirty="0">
                <a:latin typeface="Segoe UI Semibold" panose="020B0702040204020203" pitchFamily="34" charset="0"/>
                <a:cs typeface="Segoe UI Semibold" panose="020B0702040204020203" pitchFamily="34" charset="0"/>
              </a:rPr>
              <a:t>Embed and</a:t>
            </a:r>
            <a:br>
              <a:rPr lang="en-US" sz="2100" spc="-75" dirty="0">
                <a:latin typeface="Segoe UI Semibold" panose="020B0702040204020203" pitchFamily="34" charset="0"/>
                <a:cs typeface="Segoe UI Semibold" panose="020B0702040204020203" pitchFamily="34" charset="0"/>
              </a:rPr>
            </a:br>
            <a:r>
              <a:rPr lang="en-US" sz="2100" spc="-75" dirty="0">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1953305" y="684223"/>
            <a:ext cx="2146961" cy="1734365"/>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4340826" y="684559"/>
            <a:ext cx="2202026" cy="1946635"/>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6783412" y="684559"/>
            <a:ext cx="2202025" cy="2112834"/>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2813097" y="2646987"/>
            <a:ext cx="2179396" cy="1946635"/>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LinkedIn as a source for creating mobile applications </a:t>
              </a:r>
              <a:endParaRPr lang="en-US" sz="1050" b="1">
                <a:gradFill>
                  <a:gsLst>
                    <a:gs pos="1250">
                      <a:srgbClr val="1A1A1A"/>
                    </a:gs>
                    <a:gs pos="100000">
                      <a:srgbClr val="1A1A1A"/>
                    </a:gs>
                  </a:gsLst>
                  <a:lin ang="5400000" scaled="0"/>
                </a:gradFill>
                <a:latin typeface="Segoe UI"/>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5858610" y="2629788"/>
            <a:ext cx="2260708" cy="2130033"/>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Dynamics as starting point to create contextual apps</a:t>
              </a:r>
              <a:endParaRPr lang="en-US" sz="1050" b="1">
                <a:gradFill>
                  <a:gsLst>
                    <a:gs pos="1250">
                      <a:srgbClr val="1A1A1A"/>
                    </a:gs>
                    <a:gs pos="100000">
                      <a:srgbClr val="1A1A1A"/>
                    </a:gs>
                  </a:gsLst>
                  <a:lin ang="5400000" scaled="0"/>
                </a:gradFill>
                <a:latin typeface="Segoe UI"/>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1712745" y="634836"/>
            <a:ext cx="0" cy="3873828"/>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B38126D-A6D2-4D35-B988-AC7A43B51BFC}"/>
              </a:ext>
            </a:extLst>
          </p:cNvPr>
          <p:cNvPicPr>
            <a:picLocks noChangeAspect="1"/>
          </p:cNvPicPr>
          <p:nvPr/>
        </p:nvPicPr>
        <p:blipFill>
          <a:blip r:embed="rId3"/>
          <a:stretch>
            <a:fillRect/>
          </a:stretch>
        </p:blipFill>
        <p:spPr>
          <a:xfrm>
            <a:off x="3121876" y="0"/>
            <a:ext cx="2900247" cy="5143500"/>
          </a:xfrm>
          <a:prstGeom prst="rect">
            <a:avLst/>
          </a:prstGeom>
        </p:spPr>
      </p:pic>
      <p:pic>
        <p:nvPicPr>
          <p:cNvPr id="4" name="Picture 3">
            <a:extLst>
              <a:ext uri="{FF2B5EF4-FFF2-40B4-BE49-F238E27FC236}">
                <a16:creationId xmlns:a16="http://schemas.microsoft.com/office/drawing/2014/main" id="{556EF035-8B79-47F6-9041-8BAA172711FB}"/>
              </a:ext>
            </a:extLst>
          </p:cNvPr>
          <p:cNvPicPr>
            <a:picLocks noChangeAspect="1"/>
          </p:cNvPicPr>
          <p:nvPr/>
        </p:nvPicPr>
        <p:blipFill>
          <a:blip r:embed="rId4"/>
          <a:stretch>
            <a:fillRect/>
          </a:stretch>
        </p:blipFill>
        <p:spPr>
          <a:xfrm>
            <a:off x="0" y="1284589"/>
            <a:ext cx="6504562" cy="2191066"/>
          </a:xfrm>
          <a:prstGeom prst="rect">
            <a:avLst/>
          </a:prstGeom>
        </p:spPr>
      </p:pic>
    </p:spTree>
    <p:extLst>
      <p:ext uri="{BB962C8B-B14F-4D97-AF65-F5344CB8AC3E}">
        <p14:creationId xmlns:p14="http://schemas.microsoft.com/office/powerpoint/2010/main" val="460385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DB2926-DB70-49FA-B7F2-CC908E0ED819}"/>
              </a:ext>
            </a:extLst>
          </p:cNvPr>
          <p:cNvPicPr>
            <a:picLocks noChangeAspect="1"/>
          </p:cNvPicPr>
          <p:nvPr/>
        </p:nvPicPr>
        <p:blipFill>
          <a:blip r:embed="rId3"/>
          <a:stretch>
            <a:fillRect/>
          </a:stretch>
        </p:blipFill>
        <p:spPr>
          <a:xfrm>
            <a:off x="3134064" y="0"/>
            <a:ext cx="2875872" cy="5143500"/>
          </a:xfrm>
          <a:prstGeom prst="rect">
            <a:avLst/>
          </a:prstGeom>
        </p:spPr>
      </p:pic>
    </p:spTree>
    <p:extLst>
      <p:ext uri="{BB962C8B-B14F-4D97-AF65-F5344CB8AC3E}">
        <p14:creationId xmlns:p14="http://schemas.microsoft.com/office/powerpoint/2010/main" val="2656946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F0D9B1-3CE7-4EC9-9C6A-2A3AB6938D06}"/>
              </a:ext>
            </a:extLst>
          </p:cNvPr>
          <p:cNvPicPr>
            <a:picLocks noChangeAspect="1"/>
          </p:cNvPicPr>
          <p:nvPr/>
        </p:nvPicPr>
        <p:blipFill>
          <a:blip r:embed="rId3"/>
          <a:stretch>
            <a:fillRect/>
          </a:stretch>
        </p:blipFill>
        <p:spPr>
          <a:xfrm>
            <a:off x="3114280" y="0"/>
            <a:ext cx="2915440" cy="5143500"/>
          </a:xfrm>
          <a:prstGeom prst="rect">
            <a:avLst/>
          </a:prstGeom>
        </p:spPr>
      </p:pic>
    </p:spTree>
    <p:extLst>
      <p:ext uri="{BB962C8B-B14F-4D97-AF65-F5344CB8AC3E}">
        <p14:creationId xmlns:p14="http://schemas.microsoft.com/office/powerpoint/2010/main" val="3273925110"/>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DB2926-DB70-49FA-B7F2-CC908E0ED819}"/>
              </a:ext>
            </a:extLst>
          </p:cNvPr>
          <p:cNvPicPr>
            <a:picLocks noChangeAspect="1"/>
          </p:cNvPicPr>
          <p:nvPr/>
        </p:nvPicPr>
        <p:blipFill>
          <a:blip r:embed="rId3"/>
          <a:stretch>
            <a:fillRect/>
          </a:stretch>
        </p:blipFill>
        <p:spPr>
          <a:xfrm>
            <a:off x="3134064" y="0"/>
            <a:ext cx="2875872" cy="5143500"/>
          </a:xfrm>
          <a:prstGeom prst="rect">
            <a:avLst/>
          </a:prstGeom>
        </p:spPr>
      </p:pic>
    </p:spTree>
    <p:extLst>
      <p:ext uri="{BB962C8B-B14F-4D97-AF65-F5344CB8AC3E}">
        <p14:creationId xmlns:p14="http://schemas.microsoft.com/office/powerpoint/2010/main" val="2560451908"/>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C9DA5-7A8A-48DC-B9A1-CFC69A56BA45}"/>
              </a:ext>
            </a:extLst>
          </p:cNvPr>
          <p:cNvPicPr>
            <a:picLocks noChangeAspect="1"/>
          </p:cNvPicPr>
          <p:nvPr/>
        </p:nvPicPr>
        <p:blipFill>
          <a:blip r:embed="rId3"/>
          <a:stretch>
            <a:fillRect/>
          </a:stretch>
        </p:blipFill>
        <p:spPr>
          <a:xfrm>
            <a:off x="3124835" y="0"/>
            <a:ext cx="2894329" cy="5143500"/>
          </a:xfrm>
          <a:prstGeom prst="rect">
            <a:avLst/>
          </a:prstGeom>
        </p:spPr>
      </p:pic>
    </p:spTree>
    <p:extLst>
      <p:ext uri="{BB962C8B-B14F-4D97-AF65-F5344CB8AC3E}">
        <p14:creationId xmlns:p14="http://schemas.microsoft.com/office/powerpoint/2010/main" val="2866521503"/>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1600495649"/>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164264205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47E3531-1EA0-4202-B02F-7BC97F98BF36}"/>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9CD10FE6-1C7D-4278-8913-7D135904D1F0}"/>
              </a:ext>
            </a:extLst>
          </p:cNvPr>
          <p:cNvSpPr/>
          <p:nvPr/>
        </p:nvSpPr>
        <p:spPr>
          <a:xfrm>
            <a:off x="1354412" y="2358189"/>
            <a:ext cx="1574418" cy="12375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13705573"/>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6BCBFFC-7544-4A1C-B6A0-DA0A7B2DA646}"/>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DE45259F-CAD8-4395-919B-E69629565866}"/>
              </a:ext>
            </a:extLst>
          </p:cNvPr>
          <p:cNvSpPr/>
          <p:nvPr/>
        </p:nvSpPr>
        <p:spPr>
          <a:xfrm>
            <a:off x="0" y="2495693"/>
            <a:ext cx="1203158" cy="7700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Rectangle 3">
            <a:extLst>
              <a:ext uri="{FF2B5EF4-FFF2-40B4-BE49-F238E27FC236}">
                <a16:creationId xmlns:a16="http://schemas.microsoft.com/office/drawing/2014/main" id="{FB8258EA-3A06-4164-9FEB-DE9538F3EE38}"/>
              </a:ext>
            </a:extLst>
          </p:cNvPr>
          <p:cNvSpPr/>
          <p:nvPr/>
        </p:nvSpPr>
        <p:spPr>
          <a:xfrm>
            <a:off x="2613717" y="3829480"/>
            <a:ext cx="1203158" cy="39876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58553532"/>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5A3C1C-9C45-49BB-868C-0C226FF61459}"/>
              </a:ext>
            </a:extLst>
          </p:cNvPr>
          <p:cNvPicPr>
            <a:picLocks noChangeAspect="1"/>
          </p:cNvPicPr>
          <p:nvPr/>
        </p:nvPicPr>
        <p:blipFill>
          <a:blip r:embed="rId3"/>
          <a:stretch>
            <a:fillRect/>
          </a:stretch>
        </p:blipFill>
        <p:spPr>
          <a:xfrm>
            <a:off x="2288" y="0"/>
            <a:ext cx="9139423" cy="5143500"/>
          </a:xfrm>
          <a:prstGeom prst="rect">
            <a:avLst/>
          </a:prstGeom>
        </p:spPr>
      </p:pic>
      <p:sp>
        <p:nvSpPr>
          <p:cNvPr id="4" name="Rectangle 3">
            <a:extLst>
              <a:ext uri="{FF2B5EF4-FFF2-40B4-BE49-F238E27FC236}">
                <a16:creationId xmlns:a16="http://schemas.microsoft.com/office/drawing/2014/main" id="{1D842B3C-4D07-4EEB-9C86-40FE81916F62}"/>
              </a:ext>
            </a:extLst>
          </p:cNvPr>
          <p:cNvSpPr/>
          <p:nvPr/>
        </p:nvSpPr>
        <p:spPr>
          <a:xfrm>
            <a:off x="6668932" y="1443789"/>
            <a:ext cx="1210033" cy="247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 name="Rectangle 4">
            <a:extLst>
              <a:ext uri="{FF2B5EF4-FFF2-40B4-BE49-F238E27FC236}">
                <a16:creationId xmlns:a16="http://schemas.microsoft.com/office/drawing/2014/main" id="{0FECAC02-0D17-43CF-BF39-5F9F5D845711}"/>
              </a:ext>
            </a:extLst>
          </p:cNvPr>
          <p:cNvSpPr/>
          <p:nvPr/>
        </p:nvSpPr>
        <p:spPr>
          <a:xfrm>
            <a:off x="385010" y="2447996"/>
            <a:ext cx="1113781" cy="1852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648BCD8A-D9FB-4D47-B689-2F89C131D8D1}"/>
              </a:ext>
            </a:extLst>
          </p:cNvPr>
          <p:cNvSpPr/>
          <p:nvPr/>
        </p:nvSpPr>
        <p:spPr>
          <a:xfrm>
            <a:off x="385011" y="2806221"/>
            <a:ext cx="1113780" cy="227497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05452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794237" y="-1141326"/>
            <a:ext cx="7555528" cy="7555528"/>
          </a:xfrm>
          <a:prstGeom prst="ellipse">
            <a:avLst/>
          </a:prstGeom>
          <a:solidFill>
            <a:srgbClr val="FFFFFF"/>
          </a:solidFill>
          <a:ln w="9525" cap="flat">
            <a:solidFill>
              <a:srgbClr val="353535"/>
            </a:solidFill>
            <a:prstDash val="solid"/>
            <a:miter lim="800000"/>
            <a:headEnd/>
            <a:tailEnd/>
          </a:ln>
        </p:spPr>
        <p:txBody>
          <a:bodyPr vert="horz" wrap="square" lIns="67232" tIns="33616" rIns="67232" bIns="33616" numCol="1" anchor="t" anchorCtr="0" compatLnSpc="1">
            <a:prstTxWarp prst="textNoShape">
              <a:avLst/>
            </a:prstTxWarp>
          </a:bodyPr>
          <a:lstStyle/>
          <a:p>
            <a:pPr defTabSz="672290">
              <a:defRPr/>
            </a:pPr>
            <a:endParaRPr lang="en-US" sz="1324" kern="0" dirty="0">
              <a:solidFill>
                <a:srgbClr val="FFFFFF"/>
              </a:solidFill>
              <a:latin typeface="Segoe UI"/>
            </a:endParaRPr>
          </a:p>
        </p:txBody>
      </p:sp>
      <p:pic>
        <p:nvPicPr>
          <p:cNvPr id="3" name="Picture 2"/>
          <p:cNvPicPr>
            <a:picLocks noChangeAspect="1"/>
          </p:cNvPicPr>
          <p:nvPr/>
        </p:nvPicPr>
        <p:blipFill>
          <a:blip r:embed="rId3"/>
          <a:stretch>
            <a:fillRect/>
          </a:stretch>
        </p:blipFill>
        <p:spPr>
          <a:xfrm>
            <a:off x="2103975" y="1090652"/>
            <a:ext cx="4936052" cy="2417363"/>
          </a:xfrm>
          <a:prstGeom prst="rect">
            <a:avLst/>
          </a:prstGeom>
        </p:spPr>
      </p:pic>
      <p:sp>
        <p:nvSpPr>
          <p:cNvPr id="56" name="TextBox 55"/>
          <p:cNvSpPr txBox="1"/>
          <p:nvPr/>
        </p:nvSpPr>
        <p:spPr>
          <a:xfrm>
            <a:off x="1779914" y="4608644"/>
            <a:ext cx="5584173" cy="323392"/>
          </a:xfrm>
          <a:prstGeom prst="rect">
            <a:avLst/>
          </a:prstGeom>
          <a:noFill/>
        </p:spPr>
        <p:txBody>
          <a:bodyPr wrap="square" lIns="137141" tIns="109713" rIns="137141" bIns="109713" rtlCol="0">
            <a:spAutoFit/>
          </a:bodyPr>
          <a:lstStyle/>
          <a:p>
            <a:pPr algn="ctr" defTabSz="685669">
              <a:lnSpc>
                <a:spcPct val="90000"/>
              </a:lnSpc>
              <a:spcAft>
                <a:spcPts val="450"/>
              </a:spcAft>
              <a:defRPr/>
            </a:pPr>
            <a:r>
              <a:rPr lang="en-US" sz="735" dirty="0">
                <a:gradFill>
                  <a:gsLst>
                    <a:gs pos="2917">
                      <a:prstClr val="white">
                        <a:lumMod val="65000"/>
                      </a:prstClr>
                    </a:gs>
                    <a:gs pos="100000">
                      <a:prstClr val="white">
                        <a:lumMod val="65000"/>
                      </a:prstClr>
                    </a:gs>
                  </a:gsLst>
                  <a:lin ang="5400000" scaled="0"/>
                </a:gradFill>
                <a:latin typeface="Segoe UI"/>
              </a:rPr>
              <a:t>Shaded areas show countries with Power BI usage. The darker the color the greater the number of users</a:t>
            </a:r>
          </a:p>
        </p:txBody>
      </p:sp>
      <p:sp>
        <p:nvSpPr>
          <p:cNvPr id="58" name="TextBox 57"/>
          <p:cNvSpPr txBox="1"/>
          <p:nvPr/>
        </p:nvSpPr>
        <p:spPr>
          <a:xfrm>
            <a:off x="1810345" y="3627365"/>
            <a:ext cx="1214182"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8,000</a:t>
            </a:r>
            <a:br>
              <a:rPr lang="en-US" sz="1500" dirty="0">
                <a:gradFill>
                  <a:gsLst>
                    <a:gs pos="2917">
                      <a:srgbClr val="505050"/>
                    </a:gs>
                    <a:gs pos="30000">
                      <a:srgbClr val="505050"/>
                    </a:gs>
                  </a:gsLst>
                  <a:lin ang="5400000" scaled="0"/>
                </a:gradFill>
                <a:latin typeface="Segoe UI"/>
                <a:cs typeface="Segoe UI Light" panose="020B0502040204020203" pitchFamily="34" charset="0"/>
              </a:rPr>
            </a:br>
            <a:r>
              <a:rPr lang="en-US" sz="882" dirty="0">
                <a:gradFill>
                  <a:gsLst>
                    <a:gs pos="2917">
                      <a:srgbClr val="505050"/>
                    </a:gs>
                    <a:gs pos="30000">
                      <a:srgbClr val="505050"/>
                    </a:gs>
                  </a:gsLst>
                  <a:lin ang="5400000" scaled="0"/>
                </a:gradFill>
                <a:latin typeface="Segoe UI"/>
              </a:rPr>
              <a:t>Cities globally access the service daily</a:t>
            </a:r>
            <a:endParaRPr lang="en-US" sz="900" dirty="0">
              <a:gradFill>
                <a:gsLst>
                  <a:gs pos="2917">
                    <a:srgbClr val="505050"/>
                  </a:gs>
                  <a:gs pos="30000">
                    <a:srgbClr val="505050"/>
                  </a:gs>
                </a:gsLst>
                <a:lin ang="5400000" scaled="0"/>
              </a:gradFill>
              <a:latin typeface="Segoe UI"/>
            </a:endParaRPr>
          </a:p>
        </p:txBody>
      </p:sp>
      <p:sp>
        <p:nvSpPr>
          <p:cNvPr id="2" name="Title 1"/>
          <p:cNvSpPr>
            <a:spLocks noGrp="1"/>
          </p:cNvSpPr>
          <p:nvPr>
            <p:ph type="title"/>
          </p:nvPr>
        </p:nvSpPr>
        <p:spPr>
          <a:xfrm>
            <a:off x="201060" y="130801"/>
            <a:ext cx="8741880" cy="674653"/>
          </a:xfrm>
        </p:spPr>
        <p:txBody>
          <a:bodyPr>
            <a:noAutofit/>
          </a:bodyPr>
          <a:lstStyle/>
          <a:p>
            <a:pPr algn="ctr" defTabSz="698818"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6436947" y="3627364"/>
            <a:ext cx="1440764" cy="778004"/>
          </a:xfrm>
          <a:prstGeom prst="rect">
            <a:avLst/>
          </a:prstGeom>
          <a:noFill/>
        </p:spPr>
        <p:txBody>
          <a:bodyPr wrap="squar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National Clouds </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US Government</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China</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Germany</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2907" y="198185"/>
            <a:ext cx="717008" cy="717008"/>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378" y="1273696"/>
            <a:ext cx="1075057" cy="607433"/>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7648" y="3156422"/>
            <a:ext cx="834869" cy="791217"/>
          </a:xfrm>
          <a:prstGeom prst="rect">
            <a:avLst/>
          </a:prstGeom>
          <a:solidFill>
            <a:schemeClr val="bg1"/>
          </a:solidFill>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5782" y="2236564"/>
            <a:ext cx="1081533" cy="564425"/>
          </a:xfrm>
          <a:prstGeom prst="rect">
            <a:avLst/>
          </a:prstGeom>
        </p:spPr>
      </p:pic>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95496" y="1172484"/>
            <a:ext cx="910545" cy="696916"/>
          </a:xfrm>
          <a:prstGeom prst="rect">
            <a:avLst/>
          </a:prstGeom>
          <a:solidFill>
            <a:schemeClr val="bg1"/>
          </a:solidFill>
        </p:spPr>
      </p:pic>
      <p:pic>
        <p:nvPicPr>
          <p:cNvPr id="7" name="Picture 6"/>
          <p:cNvPicPr>
            <a:picLocks noChangeAspect="1"/>
          </p:cNvPicPr>
          <p:nvPr/>
        </p:nvPicPr>
        <p:blipFill rotWithShape="1">
          <a:blip r:embed="rId9" cstate="print">
            <a:extLst>
              <a:ext uri="{28A0092B-C50C-407E-A947-70E740481C1C}">
                <a14:useLocalDpi xmlns:a14="http://schemas.microsoft.com/office/drawing/2010/main" val="0"/>
              </a:ext>
            </a:extLst>
          </a:blip>
          <a:srcRect t="-8530" b="-9552"/>
          <a:stretch/>
        </p:blipFill>
        <p:spPr>
          <a:xfrm>
            <a:off x="7051855" y="260362"/>
            <a:ext cx="1390850" cy="58713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48153" y="2148476"/>
            <a:ext cx="803222" cy="80322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093611" y="3627365"/>
            <a:ext cx="879346"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90</a:t>
            </a:r>
            <a:br>
              <a:rPr lang="en-US" sz="1500" spc="-113" dirty="0">
                <a:gradFill>
                  <a:gsLst>
                    <a:gs pos="2917">
                      <a:srgbClr val="505050"/>
                    </a:gs>
                    <a:gs pos="30000">
                      <a:srgbClr val="505050"/>
                    </a:gs>
                  </a:gsLst>
                  <a:lin ang="5400000" scaled="0"/>
                </a:gradFill>
                <a:latin typeface="DIN" pitchFamily="50"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Countries </a:t>
            </a:r>
            <a:br>
              <a:rPr lang="en-US" sz="882" dirty="0">
                <a:gradFill>
                  <a:gsLst>
                    <a:gs pos="2917">
                      <a:srgbClr val="505050"/>
                    </a:gs>
                    <a:gs pos="30000">
                      <a:srgbClr val="505050"/>
                    </a:gs>
                  </a:gsLst>
                  <a:lin ang="5400000" scaled="0"/>
                </a:gradFill>
                <a:latin typeface="Segoe UI"/>
              </a:rPr>
            </a:br>
            <a:r>
              <a:rPr lang="en-US" sz="882" dirty="0">
                <a:gradFill>
                  <a:gsLst>
                    <a:gs pos="2917">
                      <a:srgbClr val="505050"/>
                    </a:gs>
                    <a:gs pos="30000">
                      <a:srgbClr val="505050"/>
                    </a:gs>
                  </a:gsLst>
                  <a:lin ang="5400000" scaled="0"/>
                </a:gradFill>
                <a:latin typeface="Segoe UI"/>
              </a:rPr>
              <a:t>&amp; territories</a:t>
            </a:r>
          </a:p>
        </p:txBody>
      </p:sp>
      <p:sp>
        <p:nvSpPr>
          <p:cNvPr id="31" name="TextBox 30"/>
          <p:cNvSpPr txBox="1"/>
          <p:nvPr/>
        </p:nvSpPr>
        <p:spPr>
          <a:xfrm>
            <a:off x="4042039" y="3627366"/>
            <a:ext cx="841455" cy="590325"/>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43</a:t>
            </a:r>
            <a: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 </a:t>
            </a:r>
            <a:b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Languages</a:t>
            </a:r>
          </a:p>
        </p:txBody>
      </p:sp>
      <p:sp>
        <p:nvSpPr>
          <p:cNvPr id="11" name="TextBox 10"/>
          <p:cNvSpPr txBox="1"/>
          <p:nvPr/>
        </p:nvSpPr>
        <p:spPr>
          <a:xfrm>
            <a:off x="4952577" y="3627364"/>
            <a:ext cx="1419783" cy="459712"/>
          </a:xfrm>
          <a:prstGeom prst="rect">
            <a:avLst/>
          </a:prstGeom>
          <a:noFill/>
        </p:spPr>
        <p:txBody>
          <a:bodyPr wrap="non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Global coverage</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41915" y="3230774"/>
            <a:ext cx="878434" cy="5651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49616" y="4074996"/>
            <a:ext cx="873959" cy="82826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3409" y="4303074"/>
            <a:ext cx="1386657" cy="560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RLS</a:t>
            </a:r>
            <a:br>
              <a:rPr lang="en-US" dirty="0"/>
            </a:br>
            <a:r>
              <a:rPr lang="en-US" dirty="0"/>
              <a:t>(DEMO 7)</a:t>
            </a:r>
            <a:endParaRPr lang="en-US" sz="3600" dirty="0"/>
          </a:p>
        </p:txBody>
      </p:sp>
    </p:spTree>
    <p:extLst>
      <p:ext uri="{BB962C8B-B14F-4D97-AF65-F5344CB8AC3E}">
        <p14:creationId xmlns:p14="http://schemas.microsoft.com/office/powerpoint/2010/main" val="1328316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C0F66F-CD38-4FBE-84A0-97209295B623}"/>
              </a:ext>
            </a:extLst>
          </p:cNvPr>
          <p:cNvPicPr>
            <a:picLocks noChangeAspect="1"/>
          </p:cNvPicPr>
          <p:nvPr/>
        </p:nvPicPr>
        <p:blipFill>
          <a:blip r:embed="rId3"/>
          <a:stretch>
            <a:fillRect/>
          </a:stretch>
        </p:blipFill>
        <p:spPr>
          <a:xfrm>
            <a:off x="2946" y="0"/>
            <a:ext cx="9138108" cy="5143500"/>
          </a:xfrm>
          <a:prstGeom prst="rect">
            <a:avLst/>
          </a:prstGeom>
        </p:spPr>
      </p:pic>
      <p:pic>
        <p:nvPicPr>
          <p:cNvPr id="5" name="Picture 4">
            <a:extLst>
              <a:ext uri="{FF2B5EF4-FFF2-40B4-BE49-F238E27FC236}">
                <a16:creationId xmlns:a16="http://schemas.microsoft.com/office/drawing/2014/main" id="{B9FC7015-F494-4AB6-9C2B-87619D1ADA30}"/>
              </a:ext>
            </a:extLst>
          </p:cNvPr>
          <p:cNvPicPr>
            <a:picLocks noChangeAspect="1"/>
          </p:cNvPicPr>
          <p:nvPr/>
        </p:nvPicPr>
        <p:blipFill>
          <a:blip r:embed="rId4"/>
          <a:stretch>
            <a:fillRect/>
          </a:stretch>
        </p:blipFill>
        <p:spPr>
          <a:xfrm>
            <a:off x="3504134" y="970511"/>
            <a:ext cx="3948569" cy="3367733"/>
          </a:xfrm>
          <a:prstGeom prst="rect">
            <a:avLst/>
          </a:prstGeom>
        </p:spPr>
      </p:pic>
    </p:spTree>
    <p:extLst>
      <p:ext uri="{BB962C8B-B14F-4D97-AF65-F5344CB8AC3E}">
        <p14:creationId xmlns:p14="http://schemas.microsoft.com/office/powerpoint/2010/main" val="3789682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95BAFF7-7D2E-40F1-A862-60F66ECBD1DC}"/>
              </a:ext>
            </a:extLst>
          </p:cNvPr>
          <p:cNvPicPr>
            <a:picLocks noChangeAspect="1"/>
          </p:cNvPicPr>
          <p:nvPr/>
        </p:nvPicPr>
        <p:blipFill>
          <a:blip r:embed="rId3"/>
          <a:stretch>
            <a:fillRect/>
          </a:stretch>
        </p:blipFill>
        <p:spPr>
          <a:xfrm>
            <a:off x="2506" y="0"/>
            <a:ext cx="9138987" cy="5143500"/>
          </a:xfrm>
          <a:prstGeom prst="rect">
            <a:avLst/>
          </a:prstGeom>
        </p:spPr>
      </p:pic>
      <p:sp>
        <p:nvSpPr>
          <p:cNvPr id="3" name="Rectangle 2">
            <a:extLst>
              <a:ext uri="{FF2B5EF4-FFF2-40B4-BE49-F238E27FC236}">
                <a16:creationId xmlns:a16="http://schemas.microsoft.com/office/drawing/2014/main" id="{16DD0DE7-0613-4020-96B8-C7A9C22A1135}"/>
              </a:ext>
            </a:extLst>
          </p:cNvPr>
          <p:cNvSpPr/>
          <p:nvPr/>
        </p:nvSpPr>
        <p:spPr>
          <a:xfrm>
            <a:off x="1746261" y="1127958"/>
            <a:ext cx="893811" cy="43958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53066875"/>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835884-2F8C-4335-B531-7F3B4BAC6197}"/>
              </a:ext>
            </a:extLst>
          </p:cNvPr>
          <p:cNvPicPr>
            <a:picLocks noChangeAspect="1"/>
          </p:cNvPicPr>
          <p:nvPr/>
        </p:nvPicPr>
        <p:blipFill>
          <a:blip r:embed="rId3"/>
          <a:stretch>
            <a:fillRect/>
          </a:stretch>
        </p:blipFill>
        <p:spPr>
          <a:xfrm>
            <a:off x="0" y="7799"/>
            <a:ext cx="9144000" cy="5127901"/>
          </a:xfrm>
          <a:prstGeom prst="rect">
            <a:avLst/>
          </a:prstGeom>
        </p:spPr>
      </p:pic>
      <p:sp>
        <p:nvSpPr>
          <p:cNvPr id="3" name="Rectangle 2">
            <a:extLst>
              <a:ext uri="{FF2B5EF4-FFF2-40B4-BE49-F238E27FC236}">
                <a16:creationId xmlns:a16="http://schemas.microsoft.com/office/drawing/2014/main" id="{16DD0DE7-0613-4020-96B8-C7A9C22A1135}"/>
              </a:ext>
            </a:extLst>
          </p:cNvPr>
          <p:cNvSpPr/>
          <p:nvPr/>
        </p:nvSpPr>
        <p:spPr>
          <a:xfrm>
            <a:off x="1058742" y="158557"/>
            <a:ext cx="453763" cy="1852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Rectangle 3">
            <a:extLst>
              <a:ext uri="{FF2B5EF4-FFF2-40B4-BE49-F238E27FC236}">
                <a16:creationId xmlns:a16="http://schemas.microsoft.com/office/drawing/2014/main" id="{1F52D82B-D709-42F1-ADFC-39E5D3288BDF}"/>
              </a:ext>
            </a:extLst>
          </p:cNvPr>
          <p:cNvSpPr/>
          <p:nvPr/>
        </p:nvSpPr>
        <p:spPr>
          <a:xfrm>
            <a:off x="4281488" y="295275"/>
            <a:ext cx="633412" cy="94773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55998485"/>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2F27766-72C1-416A-AEE2-2BCD543873F6}"/>
              </a:ext>
            </a:extLst>
          </p:cNvPr>
          <p:cNvPicPr>
            <a:picLocks noChangeAspect="1"/>
          </p:cNvPicPr>
          <p:nvPr/>
        </p:nvPicPr>
        <p:blipFill>
          <a:blip r:embed="rId3"/>
          <a:stretch>
            <a:fillRect/>
          </a:stretch>
        </p:blipFill>
        <p:spPr>
          <a:xfrm>
            <a:off x="0" y="7799"/>
            <a:ext cx="9144000" cy="5127901"/>
          </a:xfrm>
          <a:prstGeom prst="rect">
            <a:avLst/>
          </a:prstGeom>
        </p:spPr>
      </p:pic>
      <p:pic>
        <p:nvPicPr>
          <p:cNvPr id="3" name="Picture 2">
            <a:extLst>
              <a:ext uri="{FF2B5EF4-FFF2-40B4-BE49-F238E27FC236}">
                <a16:creationId xmlns:a16="http://schemas.microsoft.com/office/drawing/2014/main" id="{268458F4-2F15-42D2-AB71-E3C0AF7790C1}"/>
              </a:ext>
            </a:extLst>
          </p:cNvPr>
          <p:cNvPicPr>
            <a:picLocks noChangeAspect="1"/>
          </p:cNvPicPr>
          <p:nvPr/>
        </p:nvPicPr>
        <p:blipFill>
          <a:blip r:embed="rId4"/>
          <a:stretch>
            <a:fillRect/>
          </a:stretch>
        </p:blipFill>
        <p:spPr>
          <a:xfrm>
            <a:off x="1784111" y="897254"/>
            <a:ext cx="5575778" cy="3348992"/>
          </a:xfrm>
          <a:prstGeom prst="rect">
            <a:avLst/>
          </a:prstGeom>
        </p:spPr>
      </p:pic>
      <p:pic>
        <p:nvPicPr>
          <p:cNvPr id="4" name="Picture 3">
            <a:extLst>
              <a:ext uri="{FF2B5EF4-FFF2-40B4-BE49-F238E27FC236}">
                <a16:creationId xmlns:a16="http://schemas.microsoft.com/office/drawing/2014/main" id="{4AFD6C4A-325A-4242-9352-A8657000E4A8}"/>
              </a:ext>
            </a:extLst>
          </p:cNvPr>
          <p:cNvPicPr>
            <a:picLocks noChangeAspect="1"/>
          </p:cNvPicPr>
          <p:nvPr/>
        </p:nvPicPr>
        <p:blipFill>
          <a:blip r:embed="rId5"/>
          <a:stretch>
            <a:fillRect/>
          </a:stretch>
        </p:blipFill>
        <p:spPr>
          <a:xfrm>
            <a:off x="1784111" y="897254"/>
            <a:ext cx="5575778" cy="3348992"/>
          </a:xfrm>
          <a:prstGeom prst="rect">
            <a:avLst/>
          </a:prstGeom>
        </p:spPr>
      </p:pic>
      <p:pic>
        <p:nvPicPr>
          <p:cNvPr id="5" name="Picture 4">
            <a:extLst>
              <a:ext uri="{FF2B5EF4-FFF2-40B4-BE49-F238E27FC236}">
                <a16:creationId xmlns:a16="http://schemas.microsoft.com/office/drawing/2014/main" id="{28A8A5E7-D560-4907-8201-C2DF271B0269}"/>
              </a:ext>
            </a:extLst>
          </p:cNvPr>
          <p:cNvPicPr>
            <a:picLocks noChangeAspect="1"/>
          </p:cNvPicPr>
          <p:nvPr/>
        </p:nvPicPr>
        <p:blipFill>
          <a:blip r:embed="rId6"/>
          <a:stretch>
            <a:fillRect/>
          </a:stretch>
        </p:blipFill>
        <p:spPr>
          <a:xfrm>
            <a:off x="1784111" y="897254"/>
            <a:ext cx="5575778" cy="3348992"/>
          </a:xfrm>
          <a:prstGeom prst="rect">
            <a:avLst/>
          </a:prstGeom>
        </p:spPr>
      </p:pic>
      <p:pic>
        <p:nvPicPr>
          <p:cNvPr id="6" name="Picture 5">
            <a:extLst>
              <a:ext uri="{FF2B5EF4-FFF2-40B4-BE49-F238E27FC236}">
                <a16:creationId xmlns:a16="http://schemas.microsoft.com/office/drawing/2014/main" id="{8272DB28-66D8-4A0D-BEEB-160463DD83C8}"/>
              </a:ext>
            </a:extLst>
          </p:cNvPr>
          <p:cNvPicPr>
            <a:picLocks noChangeAspect="1"/>
          </p:cNvPicPr>
          <p:nvPr/>
        </p:nvPicPr>
        <p:blipFill>
          <a:blip r:embed="rId7"/>
          <a:stretch>
            <a:fillRect/>
          </a:stretch>
        </p:blipFill>
        <p:spPr>
          <a:xfrm>
            <a:off x="1784111" y="897254"/>
            <a:ext cx="5575778" cy="3348992"/>
          </a:xfrm>
          <a:prstGeom prst="rect">
            <a:avLst/>
          </a:prstGeom>
        </p:spPr>
      </p:pic>
    </p:spTree>
    <p:extLst>
      <p:ext uri="{BB962C8B-B14F-4D97-AF65-F5344CB8AC3E}">
        <p14:creationId xmlns:p14="http://schemas.microsoft.com/office/powerpoint/2010/main" val="2543099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749"/>
                                          </p:stCondLst>
                                        </p:cTn>
                                        <p:tgtEl>
                                          <p:spTgt spid="4"/>
                                        </p:tgtEl>
                                        <p:attrNameLst>
                                          <p:attrName>style.visibility</p:attrName>
                                        </p:attrNameLst>
                                      </p:cBhvr>
                                      <p:to>
                                        <p:strVal val="visible"/>
                                      </p:to>
                                    </p:set>
                                  </p:childTnLst>
                                </p:cTn>
                              </p:par>
                            </p:childTnLst>
                          </p:cTn>
                        </p:par>
                        <p:par>
                          <p:cTn id="11" fill="hold">
                            <p:stCondLst>
                              <p:cond delay="1250"/>
                            </p:stCondLst>
                            <p:childTnLst>
                              <p:par>
                                <p:cTn id="12" presetID="1" presetClass="entr" presetSubtype="0" fill="hold" nodeType="afterEffect">
                                  <p:stCondLst>
                                    <p:cond delay="0"/>
                                  </p:stCondLst>
                                  <p:childTnLst>
                                    <p:set>
                                      <p:cBhvr>
                                        <p:cTn id="13" dur="1" fill="hold">
                                          <p:stCondLst>
                                            <p:cond delay="749"/>
                                          </p:stCondLst>
                                        </p:cTn>
                                        <p:tgtEl>
                                          <p:spTgt spid="5"/>
                                        </p:tgtEl>
                                        <p:attrNameLst>
                                          <p:attrName>style.visibility</p:attrName>
                                        </p:attrNameLst>
                                      </p:cBhvr>
                                      <p:to>
                                        <p:strVal val="visible"/>
                                      </p:to>
                                    </p:set>
                                  </p:childTnLst>
                                </p:cTn>
                              </p:par>
                            </p:childTnLst>
                          </p:cTn>
                        </p:par>
                        <p:par>
                          <p:cTn id="14" fill="hold">
                            <p:stCondLst>
                              <p:cond delay="2000"/>
                            </p:stCondLst>
                            <p:childTnLst>
                              <p:par>
                                <p:cTn id="15" presetID="1" presetClass="entr" presetSubtype="0" fill="hold" nodeType="afterEffect">
                                  <p:stCondLst>
                                    <p:cond delay="0"/>
                                  </p:stCondLst>
                                  <p:childTnLst>
                                    <p:set>
                                      <p:cBhvr>
                                        <p:cTn id="16" dur="1" fill="hold">
                                          <p:stCondLst>
                                            <p:cond delay="749"/>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EDECC3-B3E1-484A-A4EA-8B0221BF4470}"/>
              </a:ext>
            </a:extLst>
          </p:cNvPr>
          <p:cNvPicPr>
            <a:picLocks noChangeAspect="1"/>
          </p:cNvPicPr>
          <p:nvPr/>
        </p:nvPicPr>
        <p:blipFill>
          <a:blip r:embed="rId3"/>
          <a:stretch>
            <a:fillRect/>
          </a:stretch>
        </p:blipFill>
        <p:spPr>
          <a:xfrm>
            <a:off x="0" y="0"/>
            <a:ext cx="9139423" cy="5143500"/>
          </a:xfrm>
          <a:prstGeom prst="rect">
            <a:avLst/>
          </a:prstGeom>
        </p:spPr>
      </p:pic>
      <p:pic>
        <p:nvPicPr>
          <p:cNvPr id="4" name="Picture 3">
            <a:extLst>
              <a:ext uri="{FF2B5EF4-FFF2-40B4-BE49-F238E27FC236}">
                <a16:creationId xmlns:a16="http://schemas.microsoft.com/office/drawing/2014/main" id="{B554D78E-D53C-4450-A39D-BDD147982DA2}"/>
              </a:ext>
            </a:extLst>
          </p:cNvPr>
          <p:cNvPicPr>
            <a:picLocks noChangeAspect="1"/>
          </p:cNvPicPr>
          <p:nvPr/>
        </p:nvPicPr>
        <p:blipFill rotWithShape="1">
          <a:blip r:embed="rId4"/>
          <a:srcRect l="47517" t="31545" r="37212" b="20869"/>
          <a:stretch/>
        </p:blipFill>
        <p:spPr>
          <a:xfrm>
            <a:off x="4345118" y="1622544"/>
            <a:ext cx="1395663" cy="2447567"/>
          </a:xfrm>
          <a:prstGeom prst="rect">
            <a:avLst/>
          </a:prstGeom>
        </p:spPr>
      </p:pic>
      <p:pic>
        <p:nvPicPr>
          <p:cNvPr id="9" name="Graphic 8" descr="Line Arrow: Clockwise curve">
            <a:extLst>
              <a:ext uri="{FF2B5EF4-FFF2-40B4-BE49-F238E27FC236}">
                <a16:creationId xmlns:a16="http://schemas.microsoft.com/office/drawing/2014/main" id="{DF7FEEA1-7C77-406B-9B49-C0E54AACB6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V="1">
            <a:off x="3883911" y="2640545"/>
            <a:ext cx="685800" cy="685800"/>
          </a:xfrm>
          <a:prstGeom prst="rect">
            <a:avLst/>
          </a:prstGeom>
        </p:spPr>
      </p:pic>
      <p:pic>
        <p:nvPicPr>
          <p:cNvPr id="10" name="Graphic 9" descr="Line Arrow: Clockwise curve">
            <a:extLst>
              <a:ext uri="{FF2B5EF4-FFF2-40B4-BE49-F238E27FC236}">
                <a16:creationId xmlns:a16="http://schemas.microsoft.com/office/drawing/2014/main" id="{4A79CBE9-233E-432D-BAB1-571BBA32B0C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H="1">
            <a:off x="720455" y="2160527"/>
            <a:ext cx="685800" cy="685800"/>
          </a:xfrm>
          <a:prstGeom prst="rect">
            <a:avLst/>
          </a:prstGeom>
        </p:spPr>
      </p:pic>
      <p:pic>
        <p:nvPicPr>
          <p:cNvPr id="12" name="Graphic 11" descr="Line Arrow: Clockwise curve">
            <a:extLst>
              <a:ext uri="{FF2B5EF4-FFF2-40B4-BE49-F238E27FC236}">
                <a16:creationId xmlns:a16="http://schemas.microsoft.com/office/drawing/2014/main" id="{4BE560DA-52A3-4F6A-967C-6B3DC762D8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H="1">
            <a:off x="5583232" y="3275453"/>
            <a:ext cx="685800" cy="685800"/>
          </a:xfrm>
          <a:prstGeom prst="rect">
            <a:avLst/>
          </a:prstGeom>
        </p:spPr>
      </p:pic>
      <p:pic>
        <p:nvPicPr>
          <p:cNvPr id="13" name="Graphic 12" descr="Line Arrow: Clockwise curve">
            <a:extLst>
              <a:ext uri="{FF2B5EF4-FFF2-40B4-BE49-F238E27FC236}">
                <a16:creationId xmlns:a16="http://schemas.microsoft.com/office/drawing/2014/main" id="{2DCB9AB6-36E0-43EB-8B03-AC23F8F1ECC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3198111" y="823391"/>
            <a:ext cx="685800" cy="685800"/>
          </a:xfrm>
          <a:prstGeom prst="rect">
            <a:avLst/>
          </a:prstGeom>
        </p:spPr>
      </p:pic>
    </p:spTree>
    <p:extLst>
      <p:ext uri="{BB962C8B-B14F-4D97-AF65-F5344CB8AC3E}">
        <p14:creationId xmlns:p14="http://schemas.microsoft.com/office/powerpoint/2010/main" val="2716831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par>
                          <p:cTn id="16" fill="hold">
                            <p:stCondLst>
                              <p:cond delay="1500"/>
                            </p:stCondLst>
                            <p:childTnLst>
                              <p:par>
                                <p:cTn id="17" presetID="10" presetClass="exit" presetSubtype="0" fill="hold" nodeType="afterEffect">
                                  <p:stCondLst>
                                    <p:cond delay="0"/>
                                  </p:stCondLst>
                                  <p:childTnLst>
                                    <p:animEffect transition="out" filter="fade">
                                      <p:cBhvr>
                                        <p:cTn id="18" dur="500"/>
                                        <p:tgtEl>
                                          <p:spTgt spid="12"/>
                                        </p:tgtEl>
                                      </p:cBhvr>
                                    </p:animEffect>
                                    <p:set>
                                      <p:cBhvr>
                                        <p:cTn id="19" dur="1" fill="hold">
                                          <p:stCondLst>
                                            <p:cond delay="499"/>
                                          </p:stCondLst>
                                        </p:cTn>
                                        <p:tgtEl>
                                          <p:spTgt spid="12"/>
                                        </p:tgtEl>
                                        <p:attrNameLst>
                                          <p:attrName>style.visibility</p:attrName>
                                        </p:attrNameLst>
                                      </p:cBhvr>
                                      <p:to>
                                        <p:strVal val="hidden"/>
                                      </p:to>
                                    </p:set>
                                  </p:childTnLst>
                                </p:cTn>
                              </p:par>
                              <p:par>
                                <p:cTn id="20" presetID="10" presetClass="entr" presetSubtype="0" fill="hold"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6F73AB-B8CF-4B3E-9195-FF57200C5FDB}"/>
              </a:ext>
            </a:extLst>
          </p:cNvPr>
          <p:cNvPicPr>
            <a:picLocks noChangeAspect="1"/>
          </p:cNvPicPr>
          <p:nvPr/>
        </p:nvPicPr>
        <p:blipFill>
          <a:blip r:embed="rId3"/>
          <a:stretch>
            <a:fillRect/>
          </a:stretch>
        </p:blipFill>
        <p:spPr>
          <a:xfrm>
            <a:off x="2288" y="0"/>
            <a:ext cx="9139423" cy="5143500"/>
          </a:xfrm>
          <a:prstGeom prst="rect">
            <a:avLst/>
          </a:prstGeom>
        </p:spPr>
      </p:pic>
      <p:pic>
        <p:nvPicPr>
          <p:cNvPr id="3" name="Picture 2">
            <a:extLst>
              <a:ext uri="{FF2B5EF4-FFF2-40B4-BE49-F238E27FC236}">
                <a16:creationId xmlns:a16="http://schemas.microsoft.com/office/drawing/2014/main" id="{8AD9BACD-326A-4ABE-9E32-3C67427BB2DB}"/>
              </a:ext>
            </a:extLst>
          </p:cNvPr>
          <p:cNvPicPr>
            <a:picLocks noChangeAspect="1"/>
          </p:cNvPicPr>
          <p:nvPr/>
        </p:nvPicPr>
        <p:blipFill rotWithShape="1">
          <a:blip r:embed="rId4"/>
          <a:srcRect l="15190" t="16162" r="43608" b="50000"/>
          <a:stretch/>
        </p:blipFill>
        <p:spPr>
          <a:xfrm>
            <a:off x="1388225" y="831273"/>
            <a:ext cx="3765666" cy="1740478"/>
          </a:xfrm>
          <a:prstGeom prst="rect">
            <a:avLst/>
          </a:prstGeom>
        </p:spPr>
      </p:pic>
      <p:pic>
        <p:nvPicPr>
          <p:cNvPr id="4" name="Picture 3">
            <a:extLst>
              <a:ext uri="{FF2B5EF4-FFF2-40B4-BE49-F238E27FC236}">
                <a16:creationId xmlns:a16="http://schemas.microsoft.com/office/drawing/2014/main" id="{37B3A68B-CF23-43A6-8A3A-C7BD9E2FEF68}"/>
              </a:ext>
            </a:extLst>
          </p:cNvPr>
          <p:cNvPicPr>
            <a:picLocks noChangeAspect="1"/>
          </p:cNvPicPr>
          <p:nvPr/>
        </p:nvPicPr>
        <p:blipFill rotWithShape="1">
          <a:blip r:embed="rId5"/>
          <a:srcRect l="15190" t="16162" r="43608" b="50000"/>
          <a:stretch/>
        </p:blipFill>
        <p:spPr>
          <a:xfrm>
            <a:off x="1388225" y="831273"/>
            <a:ext cx="3765666" cy="1740478"/>
          </a:xfrm>
          <a:prstGeom prst="rect">
            <a:avLst/>
          </a:prstGeom>
        </p:spPr>
      </p:pic>
      <p:pic>
        <p:nvPicPr>
          <p:cNvPr id="5" name="Picture 4">
            <a:extLst>
              <a:ext uri="{FF2B5EF4-FFF2-40B4-BE49-F238E27FC236}">
                <a16:creationId xmlns:a16="http://schemas.microsoft.com/office/drawing/2014/main" id="{418FAC53-C4AC-4FEC-B91C-D2A612603DBF}"/>
              </a:ext>
            </a:extLst>
          </p:cNvPr>
          <p:cNvPicPr>
            <a:picLocks noChangeAspect="1"/>
          </p:cNvPicPr>
          <p:nvPr/>
        </p:nvPicPr>
        <p:blipFill rotWithShape="1">
          <a:blip r:embed="rId6"/>
          <a:srcRect l="15190" t="16162" r="43608" b="50000"/>
          <a:stretch/>
        </p:blipFill>
        <p:spPr>
          <a:xfrm>
            <a:off x="1388225" y="831273"/>
            <a:ext cx="3765666" cy="1740478"/>
          </a:xfrm>
          <a:prstGeom prst="rect">
            <a:avLst/>
          </a:prstGeom>
        </p:spPr>
      </p:pic>
    </p:spTree>
    <p:extLst>
      <p:ext uri="{BB962C8B-B14F-4D97-AF65-F5344CB8AC3E}">
        <p14:creationId xmlns:p14="http://schemas.microsoft.com/office/powerpoint/2010/main" val="1030336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9352EB-B563-4DCD-9C93-C28190361435}"/>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3139623946"/>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2CE6D6-5075-47EF-8502-B92F642806D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138386029"/>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E2D973-1CA9-481B-A685-7E26857693AD}"/>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40906965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76976"/>
            <a:ext cx="8553380" cy="403957"/>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675" dirty="0">
              <a:solidFill>
                <a:prstClr val="black"/>
              </a:solidFill>
              <a:latin typeface="Calibri" panose="020F0502020204030204"/>
            </a:endParaRPr>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3555" y="350906"/>
            <a:ext cx="2762292" cy="44024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363555" y="3795008"/>
            <a:ext cx="1702824" cy="380873"/>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290703" y="1249447"/>
            <a:ext cx="4524220"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Q1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leader in </a:t>
            </a:r>
          </a:p>
          <a:p>
            <a:pPr defTabSz="698944">
              <a:lnSpc>
                <a:spcPct val="90000"/>
              </a:lnSpc>
              <a:defRPr/>
            </a:pPr>
            <a:r>
              <a:rPr lang="en-US" sz="24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4736306" y="90713"/>
            <a:ext cx="4111325" cy="4486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DDCBEF0-6A3F-4E01-9A32-E60118207D97}"/>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6364571"/>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EA608DA-D628-4ED3-B20B-EAAAC080B773}"/>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818943831"/>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520AB48-54B7-4F09-9A9D-571FF8B6B83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175248993"/>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07BF6-FC2C-4268-B105-39B9ECE8A485}"/>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B76D8FA6-E1F4-4791-8C17-D2CBFE298A6B}"/>
              </a:ext>
            </a:extLst>
          </p:cNvPr>
          <p:cNvSpPr/>
          <p:nvPr/>
        </p:nvSpPr>
        <p:spPr>
          <a:xfrm>
            <a:off x="6096000" y="3514724"/>
            <a:ext cx="2598420" cy="1928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7019943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0BA854-254C-4BE0-A053-D872204E4D73}"/>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674483956"/>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9C4AB2-D5AE-49FF-8B57-BEEA24330C31}"/>
              </a:ext>
            </a:extLst>
          </p:cNvPr>
          <p:cNvPicPr>
            <a:picLocks noChangeAspect="1"/>
          </p:cNvPicPr>
          <p:nvPr/>
        </p:nvPicPr>
        <p:blipFill>
          <a:blip r:embed="rId3"/>
          <a:stretch>
            <a:fillRect/>
          </a:stretch>
        </p:blipFill>
        <p:spPr>
          <a:xfrm>
            <a:off x="2643922" y="0"/>
            <a:ext cx="3856155" cy="5143500"/>
          </a:xfrm>
          <a:prstGeom prst="rect">
            <a:avLst/>
          </a:prstGeom>
        </p:spPr>
      </p:pic>
    </p:spTree>
    <p:extLst>
      <p:ext uri="{BB962C8B-B14F-4D97-AF65-F5344CB8AC3E}">
        <p14:creationId xmlns:p14="http://schemas.microsoft.com/office/powerpoint/2010/main" val="1064186439"/>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3AB32A-66B1-4E6B-B885-872AA3DD2DC6}"/>
              </a:ext>
            </a:extLst>
          </p:cNvPr>
          <p:cNvPicPr>
            <a:picLocks noChangeAspect="1"/>
          </p:cNvPicPr>
          <p:nvPr/>
        </p:nvPicPr>
        <p:blipFill>
          <a:blip r:embed="rId3"/>
          <a:stretch>
            <a:fillRect/>
          </a:stretch>
        </p:blipFill>
        <p:spPr>
          <a:xfrm>
            <a:off x="3096550" y="0"/>
            <a:ext cx="2950899" cy="5143500"/>
          </a:xfrm>
          <a:prstGeom prst="rect">
            <a:avLst/>
          </a:prstGeom>
        </p:spPr>
      </p:pic>
    </p:spTree>
    <p:extLst>
      <p:ext uri="{BB962C8B-B14F-4D97-AF65-F5344CB8AC3E}">
        <p14:creationId xmlns:p14="http://schemas.microsoft.com/office/powerpoint/2010/main" val="2935864070"/>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Approvals</a:t>
            </a:r>
            <a:br>
              <a:rPr lang="en-US" dirty="0"/>
            </a:br>
            <a:r>
              <a:rPr lang="en-US" dirty="0"/>
              <a:t>(DEMO 9)</a:t>
            </a:r>
            <a:endParaRPr lang="en-US" sz="3600" dirty="0"/>
          </a:p>
        </p:txBody>
      </p:sp>
    </p:spTree>
    <p:extLst>
      <p:ext uri="{BB962C8B-B14F-4D97-AF65-F5344CB8AC3E}">
        <p14:creationId xmlns:p14="http://schemas.microsoft.com/office/powerpoint/2010/main" val="233849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617847-EB8D-4726-B254-508C510173F8}"/>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582473823"/>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AB4B39-83AB-4947-81EF-25328FE3D2FE}"/>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7C346B22-63E4-4439-8344-D9CD2771253E}"/>
              </a:ext>
            </a:extLst>
          </p:cNvPr>
          <p:cNvSpPr/>
          <p:nvPr/>
        </p:nvSpPr>
        <p:spPr>
          <a:xfrm>
            <a:off x="3410093" y="4496372"/>
            <a:ext cx="1388788" cy="3079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888784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15981" y="357824"/>
            <a:ext cx="4050699" cy="405069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290703" y="1249447"/>
            <a:ext cx="367009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8</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90CAF5-46F9-467B-AAC7-4D2295AB2D9D}"/>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1336015308"/>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BD10EC-1592-4E04-A7B3-9CD96CC2820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171484897"/>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442219-CDFB-43B2-86FC-B4626C4FD1F5}"/>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1225522724"/>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CDB26DB-CF79-4D34-BA48-D1BBC0D37EA7}"/>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3641325111"/>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2BDC7D2-094A-4DAD-8E32-BD3CE080D7B7}"/>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246596394"/>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28DF94B-C55F-4037-84B1-B507F2DE9728}"/>
              </a:ext>
            </a:extLst>
          </p:cNvPr>
          <p:cNvPicPr>
            <a:picLocks noChangeAspect="1"/>
          </p:cNvPicPr>
          <p:nvPr/>
        </p:nvPicPr>
        <p:blipFill>
          <a:blip r:embed="rId3"/>
          <a:stretch>
            <a:fillRect/>
          </a:stretch>
        </p:blipFill>
        <p:spPr>
          <a:xfrm>
            <a:off x="5231" y="0"/>
            <a:ext cx="9133538" cy="5143500"/>
          </a:xfrm>
          <a:prstGeom prst="rect">
            <a:avLst/>
          </a:prstGeom>
        </p:spPr>
      </p:pic>
    </p:spTree>
    <p:extLst>
      <p:ext uri="{BB962C8B-B14F-4D97-AF65-F5344CB8AC3E}">
        <p14:creationId xmlns:p14="http://schemas.microsoft.com/office/powerpoint/2010/main" val="1591350488"/>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652E89E-EDEA-4592-B3A1-EC4F3A01B524}"/>
              </a:ext>
            </a:extLst>
          </p:cNvPr>
          <p:cNvPicPr>
            <a:picLocks noChangeAspect="1"/>
          </p:cNvPicPr>
          <p:nvPr/>
        </p:nvPicPr>
        <p:blipFill>
          <a:blip r:embed="rId2"/>
          <a:stretch>
            <a:fillRect/>
          </a:stretch>
        </p:blipFill>
        <p:spPr>
          <a:xfrm>
            <a:off x="2288" y="0"/>
            <a:ext cx="9139423" cy="5143500"/>
          </a:xfrm>
          <a:prstGeom prst="rect">
            <a:avLst/>
          </a:prstGeom>
        </p:spPr>
      </p:pic>
    </p:spTree>
    <p:extLst>
      <p:ext uri="{BB962C8B-B14F-4D97-AF65-F5344CB8AC3E}">
        <p14:creationId xmlns:p14="http://schemas.microsoft.com/office/powerpoint/2010/main" val="3738740490"/>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C480A44-64DB-4A34-8151-52A872054F79}"/>
              </a:ext>
            </a:extLst>
          </p:cNvPr>
          <p:cNvPicPr>
            <a:picLocks noChangeAspect="1"/>
          </p:cNvPicPr>
          <p:nvPr/>
        </p:nvPicPr>
        <p:blipFill>
          <a:blip r:embed="rId2"/>
          <a:stretch>
            <a:fillRect/>
          </a:stretch>
        </p:blipFill>
        <p:spPr>
          <a:xfrm>
            <a:off x="7511" y="0"/>
            <a:ext cx="9128978" cy="5143500"/>
          </a:xfrm>
          <a:prstGeom prst="rect">
            <a:avLst/>
          </a:prstGeom>
        </p:spPr>
      </p:pic>
    </p:spTree>
    <p:extLst>
      <p:ext uri="{BB962C8B-B14F-4D97-AF65-F5344CB8AC3E}">
        <p14:creationId xmlns:p14="http://schemas.microsoft.com/office/powerpoint/2010/main" val="2282620477"/>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International Space Station</a:t>
            </a:r>
            <a:br>
              <a:rPr lang="en-US" dirty="0"/>
            </a:br>
            <a:r>
              <a:rPr lang="en-US" dirty="0"/>
              <a:t>(DEMO 10)</a:t>
            </a:r>
            <a:endParaRPr lang="en-US" sz="3600" dirty="0"/>
          </a:p>
        </p:txBody>
      </p:sp>
    </p:spTree>
    <p:extLst>
      <p:ext uri="{BB962C8B-B14F-4D97-AF65-F5344CB8AC3E}">
        <p14:creationId xmlns:p14="http://schemas.microsoft.com/office/powerpoint/2010/main" val="237211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129CC8C-E4D5-470C-9E6E-996C9F72C76A}"/>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40753586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8" name="Rectangle 17">
            <a:extLst>
              <a:ext uri="{FF2B5EF4-FFF2-40B4-BE49-F238E27FC236}">
                <a16:creationId xmlns:a16="http://schemas.microsoft.com/office/drawing/2014/main" id="{707B10FE-A2D8-4E4D-AC25-776DE76003AE}"/>
              </a:ext>
            </a:extLst>
          </p:cNvPr>
          <p:cNvSpPr/>
          <p:nvPr/>
        </p:nvSpPr>
        <p:spPr>
          <a:xfrm>
            <a:off x="290703" y="1249447"/>
            <a:ext cx="416064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Challenger in the Magic Quadrant for Multiexperience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3" name="Picture 2" descr="https://www.outsystems.com/-/media/images/resources/gartner-quadrant-mobile-development-platforms/gartner-mxdp-mq-2019.png">
            <a:extLst>
              <a:ext uri="{FF2B5EF4-FFF2-40B4-BE49-F238E27FC236}">
                <a16:creationId xmlns:a16="http://schemas.microsoft.com/office/drawing/2014/main" id="{98DC54C0-31D8-4CF0-855F-1D3BB45328E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143" t="6570" r="6609" b="2779"/>
          <a:stretch/>
        </p:blipFill>
        <p:spPr bwMode="auto">
          <a:xfrm>
            <a:off x="4784692" y="357824"/>
            <a:ext cx="4113276" cy="4131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932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1.38889E-6 -4.5679E-6 L -0.0151 -4.5679E-6 " pathEditMode="relative" rAng="0" ptsTypes="AA">
                                      <p:cBhvr>
                                        <p:cTn id="9" dur="750" spd="-100000" fill="hold"/>
                                        <p:tgtEl>
                                          <p:spTgt spid="18"/>
                                        </p:tgtEl>
                                        <p:attrNameLst>
                                          <p:attrName>ppt_x</p:attrName>
                                          <p:attrName>ppt_y</p:attrName>
                                        </p:attrNameLst>
                                      </p:cBhvr>
                                      <p:rCtr x="-764"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551A5C2-C923-4D46-AC3D-481D4DE9584A}"/>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436538846"/>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073525-3A71-454E-B431-1EB6BCDBA409}"/>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2753876810"/>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124B7E-AA97-4CFB-AB2A-47D77A5A0FA3}"/>
              </a:ext>
            </a:extLst>
          </p:cNvPr>
          <p:cNvPicPr>
            <a:picLocks noChangeAspect="1"/>
          </p:cNvPicPr>
          <p:nvPr/>
        </p:nvPicPr>
        <p:blipFill>
          <a:blip r:embed="rId2"/>
          <a:stretch>
            <a:fillRect/>
          </a:stretch>
        </p:blipFill>
        <p:spPr>
          <a:xfrm>
            <a:off x="0" y="983"/>
            <a:ext cx="9144000" cy="5141533"/>
          </a:xfrm>
          <a:prstGeom prst="rect">
            <a:avLst/>
          </a:prstGeom>
        </p:spPr>
      </p:pic>
      <p:sp>
        <p:nvSpPr>
          <p:cNvPr id="3" name="Rectangle 2">
            <a:extLst>
              <a:ext uri="{FF2B5EF4-FFF2-40B4-BE49-F238E27FC236}">
                <a16:creationId xmlns:a16="http://schemas.microsoft.com/office/drawing/2014/main" id="{B60C7DD3-9977-46A5-B3E5-49DA96CD008B}"/>
              </a:ext>
            </a:extLst>
          </p:cNvPr>
          <p:cNvSpPr/>
          <p:nvPr/>
        </p:nvSpPr>
        <p:spPr>
          <a:xfrm>
            <a:off x="6530974" y="2259807"/>
            <a:ext cx="622301" cy="3047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60781352"/>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871B94-EB7B-454A-A4C8-D7A799484D15}"/>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1531741263"/>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125DA7-BF05-4ADD-8FF2-01ADCECF5A3A}"/>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2185041068"/>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8306837-0522-4831-BAC9-96012809932C}"/>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3353518342"/>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C563016-328F-4978-856F-54E435953717}"/>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3758599134"/>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black&#10;&#10;Description automatically generated">
            <a:extLst>
              <a:ext uri="{FF2B5EF4-FFF2-40B4-BE49-F238E27FC236}">
                <a16:creationId xmlns:a16="http://schemas.microsoft.com/office/drawing/2014/main" id="{835C9B0F-6C63-4EEB-9035-3146CE9E0EB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4112895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3D4C72E-6D8D-489E-AC49-737E9AEE82F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4294370057"/>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E132E31-0063-4C03-8B5C-3DA4A629B6E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3080209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5" name="Rectangle 14">
            <a:hlinkClick r:id="rId2"/>
            <a:extLst>
              <a:ext uri="{FF2B5EF4-FFF2-40B4-BE49-F238E27FC236}">
                <a16:creationId xmlns:a16="http://schemas.microsoft.com/office/drawing/2014/main" id="{5B774B50-413E-4033-959E-68B594879238}"/>
              </a:ext>
            </a:extLst>
          </p:cNvPr>
          <p:cNvSpPr/>
          <p:nvPr/>
        </p:nvSpPr>
        <p:spPr>
          <a:xfrm>
            <a:off x="40436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 name="Rectangle 15">
            <a:hlinkClick r:id="rId3"/>
            <a:extLst>
              <a:ext uri="{FF2B5EF4-FFF2-40B4-BE49-F238E27FC236}">
                <a16:creationId xmlns:a16="http://schemas.microsoft.com/office/drawing/2014/main" id="{64DD4712-CCF4-4818-90A9-96AD9F92B78D}"/>
              </a:ext>
            </a:extLst>
          </p:cNvPr>
          <p:cNvSpPr/>
          <p:nvPr/>
        </p:nvSpPr>
        <p:spPr>
          <a:xfrm>
            <a:off x="573913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Rectangle 16">
            <a:hlinkClick r:id="rId4"/>
            <a:extLst>
              <a:ext uri="{FF2B5EF4-FFF2-40B4-BE49-F238E27FC236}">
                <a16:creationId xmlns:a16="http://schemas.microsoft.com/office/drawing/2014/main" id="{72CDAE1A-7300-461D-8DA0-2A22BCAD46E3}"/>
              </a:ext>
            </a:extLst>
          </p:cNvPr>
          <p:cNvSpPr/>
          <p:nvPr/>
        </p:nvSpPr>
        <p:spPr>
          <a:xfrm>
            <a:off x="73583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 name="Rectangle 17">
            <a:hlinkClick r:id="rId5"/>
            <a:extLst>
              <a:ext uri="{FF2B5EF4-FFF2-40B4-BE49-F238E27FC236}">
                <a16:creationId xmlns:a16="http://schemas.microsoft.com/office/drawing/2014/main" id="{A2E7D71E-D8CF-4471-B793-86CB75449B8A}"/>
              </a:ext>
            </a:extLst>
          </p:cNvPr>
          <p:cNvSpPr/>
          <p:nvPr/>
        </p:nvSpPr>
        <p:spPr>
          <a:xfrm>
            <a:off x="4043680" y="2851151"/>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Rectangle 18">
            <a:hlinkClick r:id="rId6"/>
            <a:extLst>
              <a:ext uri="{FF2B5EF4-FFF2-40B4-BE49-F238E27FC236}">
                <a16:creationId xmlns:a16="http://schemas.microsoft.com/office/drawing/2014/main" id="{871DB3E5-088A-4B04-9592-FB68F0980460}"/>
              </a:ext>
            </a:extLst>
          </p:cNvPr>
          <p:cNvSpPr/>
          <p:nvPr/>
        </p:nvSpPr>
        <p:spPr>
          <a:xfrm>
            <a:off x="573913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 name="Rectangle 19">
            <a:hlinkClick r:id="rId7"/>
            <a:extLst>
              <a:ext uri="{FF2B5EF4-FFF2-40B4-BE49-F238E27FC236}">
                <a16:creationId xmlns:a16="http://schemas.microsoft.com/office/drawing/2014/main" id="{21AED553-4A14-44D4-A43E-92F71E8D90FF}"/>
              </a:ext>
            </a:extLst>
          </p:cNvPr>
          <p:cNvSpPr/>
          <p:nvPr/>
        </p:nvSpPr>
        <p:spPr>
          <a:xfrm>
            <a:off x="735838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angle 20">
            <a:hlinkClick r:id="rId8"/>
            <a:extLst>
              <a:ext uri="{FF2B5EF4-FFF2-40B4-BE49-F238E27FC236}">
                <a16:creationId xmlns:a16="http://schemas.microsoft.com/office/drawing/2014/main" id="{1926A768-DDD3-4300-8A8D-DE74D880A2D8}"/>
              </a:ext>
            </a:extLst>
          </p:cNvPr>
          <p:cNvSpPr/>
          <p:nvPr/>
        </p:nvSpPr>
        <p:spPr>
          <a:xfrm>
            <a:off x="381000" y="3117850"/>
            <a:ext cx="2641600"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5525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084" b="6474"/>
          <a:stretch/>
        </p:blipFill>
        <p:spPr bwMode="auto">
          <a:xfrm>
            <a:off x="4695826" y="180736"/>
            <a:ext cx="4291964" cy="425266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363555" y="3795008"/>
            <a:ext cx="1702824" cy="380873"/>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290703" y="1267904"/>
            <a:ext cx="3614548"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Februar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290703" y="4532736"/>
            <a:ext cx="8607553" cy="5078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pPr defTabSz="685800"/>
            <a:r>
              <a:rPr lang="en-US" sz="675" dirty="0"/>
              <a:t>This graphic was published by Gartner, Inc. as part of a larger research document and should be evaluated in the context of the entire document. The Gartner document is available upon request from Microsoft.</a:t>
            </a:r>
          </a:p>
          <a:p>
            <a:pPr defTabSz="685800"/>
            <a:r>
              <a:rPr lang="en-US" sz="675"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ransport&#10;&#10;Description automatically generated">
            <a:extLst>
              <a:ext uri="{FF2B5EF4-FFF2-40B4-BE49-F238E27FC236}">
                <a16:creationId xmlns:a16="http://schemas.microsoft.com/office/drawing/2014/main" id="{CA85BAC2-D334-4251-ADFB-F97D81D6B25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508024821"/>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indoor, black&#10;&#10;Description automatically generated">
            <a:extLst>
              <a:ext uri="{FF2B5EF4-FFF2-40B4-BE49-F238E27FC236}">
                <a16:creationId xmlns:a16="http://schemas.microsoft.com/office/drawing/2014/main" id="{24BE0A20-149D-4B1A-AD76-A0E0311919D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4127080535"/>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4" name="microsoft">
            <a:extLst>
              <a:ext uri="{FF2B5EF4-FFF2-40B4-BE49-F238E27FC236}">
                <a16:creationId xmlns:a16="http://schemas.microsoft.com/office/drawing/2014/main" id="{24081253-AB92-4D89-A247-A94D29A067B5}"/>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End</a:t>
            </a:r>
          </a:p>
        </p:txBody>
      </p:sp>
      <p:grpSp>
        <p:nvGrpSpPr>
          <p:cNvPr id="19" name="Group 18">
            <a:extLst>
              <a:ext uri="{FF2B5EF4-FFF2-40B4-BE49-F238E27FC236}">
                <a16:creationId xmlns:a16="http://schemas.microsoft.com/office/drawing/2014/main" id="{2268C065-EB39-4E83-B99A-3B25B3DC1149}"/>
              </a:ext>
            </a:extLst>
          </p:cNvPr>
          <p:cNvGrpSpPr/>
          <p:nvPr/>
        </p:nvGrpSpPr>
        <p:grpSpPr>
          <a:xfrm>
            <a:off x="2715400" y="0"/>
            <a:ext cx="6428601" cy="5143500"/>
            <a:chOff x="3620533" y="-1"/>
            <a:chExt cx="8571468" cy="6858001"/>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81" r="18182" b="311"/>
            <a:stretch/>
          </p:blipFill>
          <p:spPr bwMode="auto">
            <a:xfrm>
              <a:off x="3620533" y="-1"/>
              <a:ext cx="8571467" cy="685800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4"/>
            <a:srcRect r="7785" b="37056"/>
            <a:stretch/>
          </p:blipFill>
          <p:spPr>
            <a:xfrm>
              <a:off x="4998908" y="907474"/>
              <a:ext cx="7193093" cy="4859466"/>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zure Data Studio Notebook</a:t>
            </a:r>
          </a:p>
          <a:p>
            <a:r>
              <a:rPr lang="en-US" dirty="0"/>
              <a:t>PowerApps</a:t>
            </a:r>
          </a:p>
          <a:p>
            <a:r>
              <a:rPr lang="en-US" dirty="0"/>
              <a:t>Microsoft Flow</a:t>
            </a:r>
          </a:p>
          <a:p>
            <a:r>
              <a:rPr lang="en-US" dirty="0"/>
              <a:t>Data Gateway</a:t>
            </a:r>
          </a:p>
          <a:p>
            <a:r>
              <a:rPr lang="en-US" dirty="0"/>
              <a:t>Cortana – Power BI</a:t>
            </a:r>
          </a:p>
          <a:p>
            <a:r>
              <a:rPr lang="en-US" dirty="0"/>
              <a:t>Publish &amp; Share – Security</a:t>
            </a:r>
          </a:p>
          <a:p>
            <a:r>
              <a:rPr lang="en-US" dirty="0"/>
              <a:t>Forms – AI Builder</a:t>
            </a:r>
          </a:p>
          <a:p>
            <a:endParaRPr lang="en-US" dirty="0"/>
          </a:p>
        </p:txBody>
      </p:sp>
      <p:sp>
        <p:nvSpPr>
          <p:cNvPr id="6" name="Title 4">
            <a:extLst>
              <a:ext uri="{FF2B5EF4-FFF2-40B4-BE49-F238E27FC236}">
                <a16:creationId xmlns:a16="http://schemas.microsoft.com/office/drawing/2014/main" id="{59362342-D148-498B-AEAA-0E78CEE2DC6E}"/>
              </a:ext>
            </a:extLst>
          </p:cNvPr>
          <p:cNvSpPr>
            <a:spLocks noGrp="1"/>
          </p:cNvSpPr>
          <p:nvPr>
            <p:ph type="title"/>
          </p:nvPr>
        </p:nvSpPr>
        <p:spPr>
          <a:xfrm>
            <a:off x="246490" y="437936"/>
            <a:ext cx="2263608" cy="960878"/>
          </a:xfrm>
        </p:spPr>
        <p:txBody>
          <a:bodyPr/>
          <a:lstStyle/>
          <a:p>
            <a:r>
              <a:rPr lang="en-US" dirty="0"/>
              <a:t>Summary</a:t>
            </a:r>
          </a:p>
        </p:txBody>
      </p:sp>
    </p:spTree>
    <p:extLst>
      <p:ext uri="{BB962C8B-B14F-4D97-AF65-F5344CB8AC3E}">
        <p14:creationId xmlns:p14="http://schemas.microsoft.com/office/powerpoint/2010/main" val="2713213652"/>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t>RLS</a:t>
            </a:r>
          </a:p>
          <a:p>
            <a:pPr>
              <a:buAutoNum type="arabicPeriod" startAt="8"/>
            </a:pPr>
            <a:r>
              <a:rPr lang="en-US" dirty="0"/>
              <a:t>Approvals</a:t>
            </a:r>
          </a:p>
          <a:p>
            <a:pPr>
              <a:buAutoNum type="arabicPeriod" startAt="8"/>
            </a:pPr>
            <a:r>
              <a:rPr lang="en-US" dirty="0"/>
              <a:t>ISS HTTP Web API</a:t>
            </a:r>
          </a:p>
          <a:p>
            <a:pPr>
              <a:buAutoNum type="arabicPeriod" startAt="8"/>
            </a:pPr>
            <a:r>
              <a:rPr lang="en-US" dirty="0"/>
              <a:t>Resources</a:t>
            </a:r>
          </a:p>
        </p:txBody>
      </p:sp>
      <p:sp>
        <p:nvSpPr>
          <p:cNvPr id="7" name="Title 4">
            <a:extLst>
              <a:ext uri="{FF2B5EF4-FFF2-40B4-BE49-F238E27FC236}">
                <a16:creationId xmlns:a16="http://schemas.microsoft.com/office/drawing/2014/main" id="{09CB600B-E2F2-4486-8C66-D1670E3955D8}"/>
              </a:ext>
            </a:extLst>
          </p:cNvPr>
          <p:cNvSpPr txBox="1">
            <a:spLocks/>
          </p:cNvSpPr>
          <p:nvPr/>
        </p:nvSpPr>
        <p:spPr>
          <a:xfrm>
            <a:off x="246490" y="437936"/>
            <a:ext cx="2263608" cy="960878"/>
          </a:xfrm>
          <a:prstGeom prst="rect">
            <a:avLst/>
          </a:prstGeom>
        </p:spPr>
        <p:txBody>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a:t>Summary</a:t>
            </a:r>
            <a:endParaRPr lang="en-US" dirty="0"/>
          </a:p>
        </p:txBody>
      </p:sp>
    </p:spTree>
    <p:extLst>
      <p:ext uri="{BB962C8B-B14F-4D97-AF65-F5344CB8AC3E}">
        <p14:creationId xmlns:p14="http://schemas.microsoft.com/office/powerpoint/2010/main" val="187248721"/>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hlinkClick r:id="rId3"/>
              </a:rPr>
              <a:t>fleitasarts.com</a:t>
            </a:r>
            <a:endParaRPr lang="en-US" dirty="0"/>
          </a:p>
          <a:p>
            <a:r>
              <a:rPr lang="en-US" dirty="0">
                <a:hlinkClick r:id="rId4"/>
              </a:rPr>
              <a:t>github.com/hfleitas/seattle2019</a:t>
            </a:r>
            <a:endParaRPr lang="en-US" dirty="0"/>
          </a:p>
          <a:p>
            <a:r>
              <a:rPr lang="en-US" dirty="0">
                <a:hlinkClick r:id="rId5"/>
              </a:rPr>
              <a:t>Microsoft Learn</a:t>
            </a:r>
            <a:endParaRPr lang="en-US" dirty="0"/>
          </a:p>
          <a:p>
            <a:r>
              <a:rPr lang="en-US" dirty="0">
                <a:hlinkClick r:id="rId6"/>
              </a:rPr>
              <a:t>Pricing</a:t>
            </a:r>
            <a:endParaRPr lang="en-US" dirty="0"/>
          </a:p>
          <a:p>
            <a:r>
              <a:rPr lang="en-US" dirty="0">
                <a:hlinkClick r:id="rId7"/>
              </a:rPr>
              <a:t>Integrating Bing Maps with GPS</a:t>
            </a:r>
            <a:endParaRPr lang="en-US" dirty="0"/>
          </a:p>
          <a:p>
            <a:r>
              <a:rPr lang="en-US" dirty="0">
                <a:hlinkClick r:id="rId8"/>
              </a:rPr>
              <a:t>Scrolling Screen</a:t>
            </a:r>
            <a:endParaRPr lang="en-US" dirty="0"/>
          </a:p>
          <a:p>
            <a:r>
              <a:rPr lang="en-US" dirty="0">
                <a:hlinkClick r:id="rId9"/>
              </a:rPr>
              <a:t>Display User Profile Photo</a:t>
            </a:r>
            <a:endParaRPr lang="en-US" dirty="0"/>
          </a:p>
        </p:txBody>
      </p:sp>
    </p:spTree>
    <p:extLst>
      <p:ext uri="{BB962C8B-B14F-4D97-AF65-F5344CB8AC3E}">
        <p14:creationId xmlns:p14="http://schemas.microsoft.com/office/powerpoint/2010/main" val="3418462183"/>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hlinkClick r:id="rId2"/>
              </a:rPr>
              <a:t>Modal (Pop-up) Screen</a:t>
            </a:r>
            <a:endParaRPr lang="en-US" dirty="0"/>
          </a:p>
          <a:p>
            <a:pPr>
              <a:buAutoNum type="arabicPeriod" startAt="8"/>
            </a:pPr>
            <a:r>
              <a:rPr lang="en-US" dirty="0">
                <a:hlinkClick r:id="rId3"/>
              </a:rPr>
              <a:t>Image Circle Crop</a:t>
            </a:r>
            <a:endParaRPr lang="en-US" dirty="0"/>
          </a:p>
          <a:p>
            <a:pPr>
              <a:buAutoNum type="arabicPeriod" startAt="8"/>
            </a:pPr>
            <a:r>
              <a:rPr lang="en-US" dirty="0">
                <a:hlinkClick r:id="rId4"/>
              </a:rPr>
              <a:t>Cortana Intro</a:t>
            </a:r>
            <a:endParaRPr lang="en-US" dirty="0"/>
          </a:p>
          <a:p>
            <a:pPr>
              <a:buAutoNum type="arabicPeriod" startAt="8"/>
            </a:pPr>
            <a:r>
              <a:rPr lang="en-US" dirty="0">
                <a:hlinkClick r:id="rId5"/>
              </a:rPr>
              <a:t>Sample canvas apps</a:t>
            </a:r>
            <a:r>
              <a:rPr lang="en-US" dirty="0"/>
              <a:t> (Expense Report, Help Desk, Meeting Capture)</a:t>
            </a:r>
          </a:p>
          <a:p>
            <a:pPr>
              <a:buAutoNum type="arabicPeriod" startAt="8"/>
            </a:pPr>
            <a:r>
              <a:rPr lang="en-US" dirty="0">
                <a:hlinkClick r:id="rId6"/>
              </a:rPr>
              <a:t>Webinar Listing</a:t>
            </a:r>
            <a:endParaRPr lang="en-US" dirty="0"/>
          </a:p>
          <a:p>
            <a:pPr>
              <a:buAutoNum type="arabicPeriod" startAt="8"/>
            </a:pPr>
            <a:r>
              <a:rPr lang="en-US" dirty="0">
                <a:hlinkClick r:id="rId7"/>
              </a:rPr>
              <a:t>ROI Case Study</a:t>
            </a:r>
            <a:endParaRPr lang="en-US" dirty="0"/>
          </a:p>
        </p:txBody>
      </p:sp>
    </p:spTree>
    <p:extLst>
      <p:ext uri="{BB962C8B-B14F-4D97-AF65-F5344CB8AC3E}">
        <p14:creationId xmlns:p14="http://schemas.microsoft.com/office/powerpoint/2010/main" val="3385963367"/>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5" name="microsoft">
            <a:extLst>
              <a:ext uri="{FF2B5EF4-FFF2-40B4-BE49-F238E27FC236}">
                <a16:creationId xmlns:a16="http://schemas.microsoft.com/office/drawing/2014/main" id="{5217EC47-35C6-4E3A-963C-497574A841DF}"/>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11268" y="2491844"/>
            <a:ext cx="4572000" cy="1851789"/>
          </a:xfrm>
          <a:prstGeom prst="rect">
            <a:avLst/>
          </a:prstGeom>
        </p:spPr>
        <p:txBody>
          <a:bodyPr>
            <a:spAutoFit/>
          </a:bodyPr>
          <a:lstStyle/>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 BI</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Apps</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Microsoft Flow</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ata Stories Gallery</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iscuss, Connect, Feedback</a:t>
            </a:r>
            <a:endParaRPr lang="en-US" sz="1500" dirty="0">
              <a:solidFill>
                <a:prstClr val="black"/>
              </a:solidFill>
              <a:latin typeface="Calibri" panose="020F0502020204030204"/>
            </a:endParaRPr>
          </a:p>
          <a:p>
            <a:pPr marL="171450" indent="-171450" defTabSz="685800">
              <a:lnSpc>
                <a:spcPct val="90000"/>
              </a:lnSpc>
              <a:spcBef>
                <a:spcPts val="750"/>
              </a:spcBef>
              <a:buClr>
                <a:prstClr val="white"/>
              </a:buClr>
              <a:buFont typeface="Arial" panose="020B0604020202020204" pitchFamily="34" charset="0"/>
              <a:buChar char="•"/>
              <a:defRPr/>
            </a:pPr>
            <a:endParaRPr lang="en-US" sz="1500" kern="0" dirty="0">
              <a:solidFill>
                <a:srgbClr val="FFFFFF"/>
              </a:solidFill>
              <a:latin typeface="Calibri" panose="020F0502020204030204"/>
            </a:endParaRPr>
          </a:p>
        </p:txBody>
      </p:sp>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8182"/>
          <a:stretch/>
        </p:blipFill>
        <p:spPr bwMode="auto">
          <a:xfrm>
            <a:off x="2715400" y="-72235"/>
            <a:ext cx="6428600" cy="523201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rotWithShape="1">
          <a:blip r:embed="rId4"/>
          <a:srcRect r="7785"/>
          <a:stretch/>
        </p:blipFill>
        <p:spPr>
          <a:xfrm>
            <a:off x="3749181" y="676748"/>
            <a:ext cx="5394820" cy="3642125"/>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1302"/>
          <a:stretch/>
        </p:blipFill>
        <p:spPr>
          <a:xfrm>
            <a:off x="24548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mssql2019</a:t>
            </a:r>
          </a:p>
        </p:txBody>
      </p:sp>
      <p:pic>
        <p:nvPicPr>
          <p:cNvPr id="9" name="Picture 8" descr="A close up of a sign&#10;&#10;Description automatically generated">
            <a:extLst>
              <a:ext uri="{FF2B5EF4-FFF2-40B4-BE49-F238E27FC236}">
                <a16:creationId xmlns:a16="http://schemas.microsoft.com/office/drawing/2014/main" id="{4431E513-DBD9-4907-A718-1FCD4A05AE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10" y="1143204"/>
            <a:ext cx="1777308" cy="2561693"/>
          </a:xfrm>
          <a:prstGeom prst="rect">
            <a:avLst/>
          </a:prstGeom>
        </p:spPr>
      </p:pic>
    </p:spTree>
    <p:extLst>
      <p:ext uri="{BB962C8B-B14F-4D97-AF65-F5344CB8AC3E}">
        <p14:creationId xmlns:p14="http://schemas.microsoft.com/office/powerpoint/2010/main" val="777732675"/>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3566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26004" y="2409477"/>
            <a:ext cx="4386356" cy="1804077"/>
          </a:xfrm>
          <a:prstGeom prst="rect">
            <a:avLst/>
          </a:prstGeom>
        </p:spPr>
        <p:txBody>
          <a:bodyPr/>
          <a:lstStyle/>
          <a:p>
            <a:r>
              <a:rPr lang="en-US" dirty="0"/>
              <a:t>Azure Data Studio</a:t>
            </a:r>
            <a:br>
              <a:rPr lang="en-US" dirty="0"/>
            </a:br>
            <a:r>
              <a:rPr lang="en-US" dirty="0"/>
              <a:t>Notebook</a:t>
            </a:r>
            <a:br>
              <a:rPr lang="en-US" dirty="0"/>
            </a:br>
            <a:r>
              <a:rPr lang="en-US" dirty="0"/>
              <a:t>(DEMO 1)</a:t>
            </a:r>
            <a:endParaRPr lang="en-US" sz="3600" dirty="0"/>
          </a:p>
        </p:txBody>
      </p:sp>
    </p:spTree>
    <p:extLst>
      <p:ext uri="{BB962C8B-B14F-4D97-AF65-F5344CB8AC3E}">
        <p14:creationId xmlns:p14="http://schemas.microsoft.com/office/powerpoint/2010/main" val="196787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large ship in a body of water&#10;&#10;Description generated with very high confidence">
            <a:extLst>
              <a:ext uri="{FF2B5EF4-FFF2-40B4-BE49-F238E27FC236}">
                <a16:creationId xmlns:a16="http://schemas.microsoft.com/office/drawing/2014/main" id="{8FF1986E-3D28-4EB3-A94C-8D9262C6EBEC}"/>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t="12755" r="48581" b="12257"/>
          <a:stretch/>
        </p:blipFill>
        <p:spPr>
          <a:xfrm>
            <a:off x="4452550" y="0"/>
            <a:ext cx="4721336" cy="5164931"/>
          </a:xfrm>
          <a:prstGeom prst="rect">
            <a:avLst/>
          </a:prstGeom>
        </p:spPr>
      </p:pic>
      <p:sp>
        <p:nvSpPr>
          <p:cNvPr id="23" name="Parallelogram 1">
            <a:extLst>
              <a:ext uri="{FF2B5EF4-FFF2-40B4-BE49-F238E27FC236}">
                <a16:creationId xmlns:a16="http://schemas.microsoft.com/office/drawing/2014/main" id="{90B8AFF8-4783-4317-81AB-046C98845385}"/>
              </a:ext>
            </a:extLst>
          </p:cNvPr>
          <p:cNvSpPr/>
          <p:nvPr/>
        </p:nvSpPr>
        <p:spPr>
          <a:xfrm>
            <a:off x="4214586" y="-27081"/>
            <a:ext cx="2215540" cy="5189874"/>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24" name="Parallelogram 1">
            <a:extLst>
              <a:ext uri="{FF2B5EF4-FFF2-40B4-BE49-F238E27FC236}">
                <a16:creationId xmlns:a16="http://schemas.microsoft.com/office/drawing/2014/main" id="{648E8FD3-DED6-481D-8F28-BFC25F1691EB}"/>
              </a:ext>
            </a:extLst>
          </p:cNvPr>
          <p:cNvSpPr/>
          <p:nvPr/>
        </p:nvSpPr>
        <p:spPr>
          <a:xfrm>
            <a:off x="4344215" y="-27081"/>
            <a:ext cx="2215539" cy="5189874"/>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25" name="TextBox 24">
            <a:extLst>
              <a:ext uri="{FF2B5EF4-FFF2-40B4-BE49-F238E27FC236}">
                <a16:creationId xmlns:a16="http://schemas.microsoft.com/office/drawing/2014/main" id="{8C179932-F48D-445A-96D0-753B01445664}"/>
              </a:ext>
            </a:extLst>
          </p:cNvPr>
          <p:cNvSpPr txBox="1"/>
          <p:nvPr/>
        </p:nvSpPr>
        <p:spPr>
          <a:xfrm>
            <a:off x="6198249" y="1394487"/>
            <a:ext cx="2945751" cy="2512268"/>
          </a:xfrm>
          <a:prstGeom prst="rect">
            <a:avLst/>
          </a:prstGeom>
        </p:spPr>
        <p:txBody>
          <a:bodyPr vert="horz" lIns="68580" tIns="34290" rIns="68580" bIns="3429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defTabSz="342900" eaLnBrk="1" fontAlgn="auto" latinLnBrk="0" hangingPunct="1">
              <a:lnSpc>
                <a:spcPct val="90000"/>
              </a:lnSpc>
              <a:spcBef>
                <a:spcPct val="0"/>
              </a:spcBef>
              <a:spcAft>
                <a:spcPts val="0"/>
              </a:spcAft>
              <a:buClrTx/>
              <a:buSzTx/>
              <a:buFontTx/>
              <a:buNone/>
              <a:tabLst>
                <a:tab pos="4338530" algn="l"/>
              </a:tabLst>
              <a:defRPr/>
            </a:pPr>
            <a:r>
              <a:rPr kumimoji="0" lang="en-US" sz="8000" b="0" i="0" u="none" strike="noStrike" kern="0" cap="none" spc="0" normalizeH="0" baseline="0" noProof="0" dirty="0">
                <a:ln>
                  <a:noFill/>
                </a:ln>
                <a:solidFill>
                  <a:srgbClr val="FFFFFF"/>
                </a:solidFill>
                <a:effectLst/>
                <a:uLnTx/>
                <a:uFillTx/>
                <a:latin typeface="Segoe UI Light" charset="0"/>
                <a:cs typeface="Segoe UI Light" charset="0"/>
              </a:rPr>
              <a:t>Thank You</a:t>
            </a:r>
            <a:endParaRPr kumimoji="0" lang="en-US" sz="3200" b="0" i="0" u="none" strike="noStrike" kern="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pic>
        <p:nvPicPr>
          <p:cNvPr id="26" name="Picture 25">
            <a:extLst>
              <a:ext uri="{FF2B5EF4-FFF2-40B4-BE49-F238E27FC236}">
                <a16:creationId xmlns:a16="http://schemas.microsoft.com/office/drawing/2014/main" id="{2A54EE31-E585-4CAE-AA8E-E7E2F3A5925C}"/>
              </a:ext>
            </a:extLst>
          </p:cNvPr>
          <p:cNvPicPr>
            <a:picLocks noChangeAspect="1"/>
          </p:cNvPicPr>
          <p:nvPr/>
        </p:nvPicPr>
        <p:blipFill rotWithShape="1">
          <a:blip r:embed="rId4">
            <a:extLst>
              <a:ext uri="{BEBA8EAE-BF5A-486C-A8C5-ECC9F3942E4B}">
                <a14:imgProps xmlns:a14="http://schemas.microsoft.com/office/drawing/2010/main">
                  <a14:imgLayer r:embed="rId5">
                    <a14:imgEffect>
                      <a14:colorTemperature colorTemp="5900"/>
                    </a14:imgEffect>
                  </a14:imgLayer>
                </a14:imgProps>
              </a:ext>
            </a:extLst>
          </a:blip>
          <a:srcRect l="9309"/>
          <a:stretch/>
        </p:blipFill>
        <p:spPr>
          <a:xfrm>
            <a:off x="0" y="1425723"/>
            <a:ext cx="2528768" cy="3717777"/>
          </a:xfrm>
          <a:prstGeom prst="rect">
            <a:avLst/>
          </a:prstGeom>
        </p:spPr>
      </p:pic>
      <p:sp>
        <p:nvSpPr>
          <p:cNvPr id="27" name="Parallelogram 1">
            <a:extLst>
              <a:ext uri="{FF2B5EF4-FFF2-40B4-BE49-F238E27FC236}">
                <a16:creationId xmlns:a16="http://schemas.microsoft.com/office/drawing/2014/main" id="{101D9EBD-410A-43C5-8DFE-F3B5E2E1B1D5}"/>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47" name="Text Placeholder 9">
            <a:hlinkClick r:id="rId6"/>
            <a:extLst>
              <a:ext uri="{FF2B5EF4-FFF2-40B4-BE49-F238E27FC236}">
                <a16:creationId xmlns:a16="http://schemas.microsoft.com/office/drawing/2014/main" id="{5CD6C013-4D97-45E3-8F07-F5BDA61AF6CC}"/>
              </a:ext>
            </a:extLst>
          </p:cNvPr>
          <p:cNvSpPr txBox="1">
            <a:spLocks/>
          </p:cNvSpPr>
          <p:nvPr/>
        </p:nvSpPr>
        <p:spPr>
          <a:xfrm>
            <a:off x="2824390" y="1858717"/>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48" name="Picture 2" descr="Image result for twitter logo">
            <a:hlinkClick r:id="rId6"/>
            <a:extLst>
              <a:ext uri="{FF2B5EF4-FFF2-40B4-BE49-F238E27FC236}">
                <a16:creationId xmlns:a16="http://schemas.microsoft.com/office/drawing/2014/main" id="{4F0CAA02-E460-4A9E-BB1C-B6B82F1A429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24393" y="1858717"/>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 descr="Image result for linkedin logo">
            <a:extLst>
              <a:ext uri="{FF2B5EF4-FFF2-40B4-BE49-F238E27FC236}">
                <a16:creationId xmlns:a16="http://schemas.microsoft.com/office/drawing/2014/main" id="{C41FFEDB-A357-4213-B3F6-E724F5C1D7A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21143" y="4140170"/>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descr="A close up of a logo&#10;&#10;Description generated with very high confidence">
            <a:extLst>
              <a:ext uri="{FF2B5EF4-FFF2-40B4-BE49-F238E27FC236}">
                <a16:creationId xmlns:a16="http://schemas.microsoft.com/office/drawing/2014/main" id="{CFE7F193-EB2E-40EA-9774-027E0232464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836453" y="3567638"/>
            <a:ext cx="306362" cy="306362"/>
          </a:xfrm>
          <a:prstGeom prst="rect">
            <a:avLst/>
          </a:prstGeom>
        </p:spPr>
      </p:pic>
      <p:pic>
        <p:nvPicPr>
          <p:cNvPr id="51" name="Picture 14" descr="Image result for wordpress logo">
            <a:extLst>
              <a:ext uri="{FF2B5EF4-FFF2-40B4-BE49-F238E27FC236}">
                <a16:creationId xmlns:a16="http://schemas.microsoft.com/office/drawing/2014/main" id="{2A57EA1B-4577-4D65-9FA6-081B30C6DF5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823328" y="2997078"/>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52" name="Text Placeholder 9">
            <a:hlinkClick r:id="rId11"/>
            <a:extLst>
              <a:ext uri="{FF2B5EF4-FFF2-40B4-BE49-F238E27FC236}">
                <a16:creationId xmlns:a16="http://schemas.microsoft.com/office/drawing/2014/main" id="{027EA7D1-4CC3-428C-A4E6-A2A95BD829CB}"/>
              </a:ext>
            </a:extLst>
          </p:cNvPr>
          <p:cNvSpPr txBox="1">
            <a:spLocks/>
          </p:cNvSpPr>
          <p:nvPr/>
        </p:nvSpPr>
        <p:spPr>
          <a:xfrm>
            <a:off x="2823328" y="3567639"/>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53" name="Picture 16" descr="Image result for outlook email logo black">
            <a:extLst>
              <a:ext uri="{FF2B5EF4-FFF2-40B4-BE49-F238E27FC236}">
                <a16:creationId xmlns:a16="http://schemas.microsoft.com/office/drawing/2014/main" id="{1339D10F-A7F6-459A-BC41-86945412669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23329" y="2424743"/>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54" name="Text Placeholder 9">
            <a:hlinkClick r:id="rId13"/>
            <a:extLst>
              <a:ext uri="{FF2B5EF4-FFF2-40B4-BE49-F238E27FC236}">
                <a16:creationId xmlns:a16="http://schemas.microsoft.com/office/drawing/2014/main" id="{DC22C29F-1B24-4845-BF52-52D9FC3A9AA6}"/>
              </a:ext>
            </a:extLst>
          </p:cNvPr>
          <p:cNvSpPr txBox="1">
            <a:spLocks/>
          </p:cNvSpPr>
          <p:nvPr/>
        </p:nvSpPr>
        <p:spPr>
          <a:xfrm>
            <a:off x="2823329" y="2993090"/>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55" name="Text Placeholder 9">
            <a:hlinkClick r:id="rId14"/>
            <a:extLst>
              <a:ext uri="{FF2B5EF4-FFF2-40B4-BE49-F238E27FC236}">
                <a16:creationId xmlns:a16="http://schemas.microsoft.com/office/drawing/2014/main" id="{4DBB72F9-D5CE-45FA-9220-80BF8C6D9267}"/>
              </a:ext>
            </a:extLst>
          </p:cNvPr>
          <p:cNvSpPr txBox="1">
            <a:spLocks/>
          </p:cNvSpPr>
          <p:nvPr/>
        </p:nvSpPr>
        <p:spPr>
          <a:xfrm>
            <a:off x="2824287" y="4140541"/>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56" name="Text Placeholder 9">
            <a:hlinkClick r:id="rId15"/>
            <a:extLst>
              <a:ext uri="{FF2B5EF4-FFF2-40B4-BE49-F238E27FC236}">
                <a16:creationId xmlns:a16="http://schemas.microsoft.com/office/drawing/2014/main" id="{6C680AE3-1A90-44CC-9B42-3B17584F8112}"/>
              </a:ext>
            </a:extLst>
          </p:cNvPr>
          <p:cNvSpPr txBox="1">
            <a:spLocks/>
          </p:cNvSpPr>
          <p:nvPr/>
        </p:nvSpPr>
        <p:spPr>
          <a:xfrm>
            <a:off x="2823328" y="2423076"/>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sp>
        <p:nvSpPr>
          <p:cNvPr id="20" name="Parallelogram 1">
            <a:extLst>
              <a:ext uri="{FF2B5EF4-FFF2-40B4-BE49-F238E27FC236}">
                <a16:creationId xmlns:a16="http://schemas.microsoft.com/office/drawing/2014/main" id="{C86DBB8C-8D9C-4C8B-85CF-3CF390C5F1C0}"/>
              </a:ext>
            </a:extLst>
          </p:cNvPr>
          <p:cNvSpPr/>
          <p:nvPr/>
        </p:nvSpPr>
        <p:spPr>
          <a:xfrm rot="5400000" flipH="1">
            <a:off x="5944133" y="1933040"/>
            <a:ext cx="647944" cy="5811561"/>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pic>
        <p:nvPicPr>
          <p:cNvPr id="57" name="Picture 56">
            <a:extLst>
              <a:ext uri="{FF2B5EF4-FFF2-40B4-BE49-F238E27FC236}">
                <a16:creationId xmlns:a16="http://schemas.microsoft.com/office/drawing/2014/main" id="{64E27097-0D66-421E-9372-CA343360BA78}"/>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
        <p:nvSpPr>
          <p:cNvPr id="29" name="Text Placeholder 9">
            <a:extLst>
              <a:ext uri="{FF2B5EF4-FFF2-40B4-BE49-F238E27FC236}">
                <a16:creationId xmlns:a16="http://schemas.microsoft.com/office/drawing/2014/main" id="{E0DAA1A6-7EC9-4C9E-9E7C-C746D36EE769}"/>
              </a:ext>
            </a:extLst>
          </p:cNvPr>
          <p:cNvSpPr txBox="1">
            <a:spLocks/>
          </p:cNvSpPr>
          <p:nvPr/>
        </p:nvSpPr>
        <p:spPr>
          <a:xfrm>
            <a:off x="196261" y="271450"/>
            <a:ext cx="6693490" cy="1167855"/>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lang="en-US" sz="3600" dirty="0">
                <a:solidFill>
                  <a:prstClr val="black"/>
                </a:solidFill>
                <a:latin typeface="Segoe UI Semibold" panose="020B0702040204020203" pitchFamily="34" charset="0"/>
                <a:cs typeface="Segoe UI Semibold" panose="020B0702040204020203" pitchFamily="34" charset="0"/>
              </a:rPr>
              <a:t>Hiram Fleitas</a:t>
            </a:r>
          </a:p>
          <a:p>
            <a:pPr defTabSz="457189">
              <a:defRPr/>
            </a:pPr>
            <a:r>
              <a:rPr lang="en-US" sz="1800" dirty="0">
                <a:solidFill>
                  <a:schemeClr val="accent2"/>
                </a:solidFill>
                <a:latin typeface="Segoe UI Semibold" panose="020B0702040204020203" pitchFamily="34" charset="0"/>
                <a:cs typeface="Segoe UI Semibold" panose="020B0702040204020203" pitchFamily="34" charset="0"/>
              </a:rPr>
              <a:t>Principal Database Architect,</a:t>
            </a:r>
          </a:p>
          <a:p>
            <a:pPr defTabSz="457189">
              <a:defRPr/>
            </a:pPr>
            <a:r>
              <a:rPr lang="en-US" sz="1800" dirty="0">
                <a:solidFill>
                  <a:schemeClr val="accent2"/>
                </a:solidFill>
                <a:latin typeface="Segoe UI Semibold" panose="020B0702040204020203" pitchFamily="34" charset="0"/>
                <a:cs typeface="Segoe UI Semibold" panose="020B0702040204020203" pitchFamily="34" charset="0"/>
              </a:rPr>
              <a:t>Universal Property &amp; Casualty Insurance Company</a:t>
            </a:r>
          </a:p>
        </p:txBody>
      </p:sp>
    </p:spTree>
    <p:extLst>
      <p:ext uri="{BB962C8B-B14F-4D97-AF65-F5344CB8AC3E}">
        <p14:creationId xmlns:p14="http://schemas.microsoft.com/office/powerpoint/2010/main" val="39108630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887A80D-4BD5-4EFE-A5F0-57D1D133C1CD}"/>
              </a:ext>
            </a:extLst>
          </p:cNvPr>
          <p:cNvPicPr>
            <a:picLocks noChangeAspect="1"/>
          </p:cNvPicPr>
          <p:nvPr/>
        </p:nvPicPr>
        <p:blipFill>
          <a:blip r:embed="rId3"/>
          <a:stretch>
            <a:fillRect/>
          </a:stretch>
        </p:blipFill>
        <p:spPr>
          <a:xfrm>
            <a:off x="0" y="2565"/>
            <a:ext cx="9148564" cy="5140934"/>
          </a:xfrm>
          <a:prstGeom prst="rect">
            <a:avLst/>
          </a:prstGeom>
        </p:spPr>
      </p:pic>
    </p:spTree>
    <p:extLst>
      <p:ext uri="{BB962C8B-B14F-4D97-AF65-F5344CB8AC3E}">
        <p14:creationId xmlns:p14="http://schemas.microsoft.com/office/powerpoint/2010/main" val="12217464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17171E-57E2-441C-9B9B-EC8F1359879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2974050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1EAF0F-06DB-4E8D-8E59-727F79D10C48}"/>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8042997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C76B0F-FBE3-49D7-A76A-6AFE9146032A}"/>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42630506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D7F1E11-DB53-4B7F-964F-BDC054EC2347}"/>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7312018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FFDA1C-CB18-4E04-B98F-6AE370D58F5B}"/>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70767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FBC3360-9656-4D64-9467-0E475BE6D859}"/>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6743092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A034405-B9B2-4D89-A938-8454734F0A98}"/>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0087708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7F875AF-FAC1-4F9D-85CD-4B7C884577BC}"/>
              </a:ext>
            </a:extLst>
          </p:cNvPr>
          <p:cNvPicPr>
            <a:picLocks noChangeAspect="1"/>
          </p:cNvPicPr>
          <p:nvPr/>
        </p:nvPicPr>
        <p:blipFill>
          <a:blip r:embed="rId2"/>
          <a:stretch>
            <a:fillRect/>
          </a:stretch>
        </p:blipFill>
        <p:spPr>
          <a:xfrm>
            <a:off x="904" y="0"/>
            <a:ext cx="9142191" cy="51435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4756025" y="1314806"/>
            <a:ext cx="841957"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5687856" y="1314806"/>
            <a:ext cx="381702"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6128983" y="1314806"/>
            <a:ext cx="343295"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6531703" y="1314806"/>
            <a:ext cx="41491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7041356" y="1314806"/>
            <a:ext cx="46672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6984206" y="1451167"/>
            <a:ext cx="52387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927726" y="295206"/>
            <a:ext cx="770105" cy="119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557081" y="1245393"/>
            <a:ext cx="1755238" cy="32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4" name="Rectangle 23">
            <a:hlinkClick r:id="rId10"/>
            <a:extLst>
              <a:ext uri="{FF2B5EF4-FFF2-40B4-BE49-F238E27FC236}">
                <a16:creationId xmlns:a16="http://schemas.microsoft.com/office/drawing/2014/main" id="{17772760-6988-42A4-A4C4-D73842F6B311}"/>
              </a:ext>
            </a:extLst>
          </p:cNvPr>
          <p:cNvSpPr/>
          <p:nvPr/>
        </p:nvSpPr>
        <p:spPr>
          <a:xfrm>
            <a:off x="1557081" y="1969293"/>
            <a:ext cx="5872419" cy="14406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5" name="Rectangle 24">
            <a:hlinkClick r:id="rId11"/>
            <a:extLst>
              <a:ext uri="{FF2B5EF4-FFF2-40B4-BE49-F238E27FC236}">
                <a16:creationId xmlns:a16="http://schemas.microsoft.com/office/drawing/2014/main" id="{33BB8496-BB71-4AA9-A12B-77ACF0301C00}"/>
              </a:ext>
            </a:extLst>
          </p:cNvPr>
          <p:cNvSpPr/>
          <p:nvPr/>
        </p:nvSpPr>
        <p:spPr>
          <a:xfrm>
            <a:off x="1557081" y="3810204"/>
            <a:ext cx="5872419" cy="1333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Tree>
    <p:extLst>
      <p:ext uri="{BB962C8B-B14F-4D97-AF65-F5344CB8AC3E}">
        <p14:creationId xmlns:p14="http://schemas.microsoft.com/office/powerpoint/2010/main" val="1622802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D978223-6E53-40CA-AE67-F9C64317FEC4}"/>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2034177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F04EB8-2176-4F99-A9CD-979B47100A37}"/>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8628307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77D4B-7774-47D9-AFE9-8600479D9876}"/>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0570563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F5BA28-2CC7-44AA-A3E3-72EF9D9066CA}"/>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1261256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30CA513-435E-4AEE-8FFF-15BEDF58879D}"/>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5941268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204001E-EE7E-40FB-A870-24B9879047DB}"/>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8963438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15E0661-E62E-491B-B05A-0571F3DC65BE}"/>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26829626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FFAF1B-AFCE-4B40-9019-36B05EF68429}"/>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4182510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F3BDFE4-5A82-47CB-B1CE-AF846432140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160270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BA85848-72BB-45FB-8CB6-710FF2CC8F1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5210944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1302"/>
          <a:stretch/>
        </p:blipFill>
        <p:spPr>
          <a:xfrm>
            <a:off x="24548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mssql2019</a:t>
            </a:r>
          </a:p>
        </p:txBody>
      </p:sp>
      <p:pic>
        <p:nvPicPr>
          <p:cNvPr id="9" name="Picture 8" descr="A close up of a sign&#10;&#10;Description automatically generated">
            <a:extLst>
              <a:ext uri="{FF2B5EF4-FFF2-40B4-BE49-F238E27FC236}">
                <a16:creationId xmlns:a16="http://schemas.microsoft.com/office/drawing/2014/main" id="{4431E513-DBD9-4907-A718-1FCD4A05AE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10" y="1143204"/>
            <a:ext cx="1777308" cy="2561693"/>
          </a:xfrm>
          <a:prstGeom prst="rect">
            <a:avLst/>
          </a:prstGeom>
        </p:spPr>
      </p:pic>
    </p:spTree>
    <p:extLst>
      <p:ext uri="{BB962C8B-B14F-4D97-AF65-F5344CB8AC3E}">
        <p14:creationId xmlns:p14="http://schemas.microsoft.com/office/powerpoint/2010/main" val="31582396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PowerApps</a:t>
            </a:r>
            <a:br>
              <a:rPr lang="en-US" dirty="0"/>
            </a:br>
            <a:r>
              <a:rPr lang="en-US" dirty="0"/>
              <a:t>(DEMO 2)</a:t>
            </a:r>
            <a:endParaRPr lang="en-US" sz="3600" dirty="0"/>
          </a:p>
        </p:txBody>
      </p:sp>
    </p:spTree>
    <p:extLst>
      <p:ext uri="{BB962C8B-B14F-4D97-AF65-F5344CB8AC3E}">
        <p14:creationId xmlns:p14="http://schemas.microsoft.com/office/powerpoint/2010/main" val="65300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2782"/>
            <a:ext cx="9144000" cy="5137936"/>
          </a:xfrm>
          <a:prstGeom prst="rect">
            <a:avLst/>
          </a:prstGeom>
        </p:spPr>
      </p:pic>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6663929" y="419515"/>
            <a:ext cx="685800" cy="685800"/>
          </a:xfrm>
          <a:prstGeom prst="rect">
            <a:avLst/>
          </a:prstGeom>
        </p:spPr>
      </p:pic>
    </p:spTree>
    <p:extLst>
      <p:ext uri="{BB962C8B-B14F-4D97-AF65-F5344CB8AC3E}">
        <p14:creationId xmlns:p14="http://schemas.microsoft.com/office/powerpoint/2010/main" val="3904010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6682753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16820496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782A99-7B5A-476A-B114-98FE61ADD218}"/>
              </a:ext>
            </a:extLst>
          </p:cNvPr>
          <p:cNvPicPr>
            <a:picLocks noChangeAspect="1"/>
          </p:cNvPicPr>
          <p:nvPr/>
        </p:nvPicPr>
        <p:blipFill>
          <a:blip r:embed="rId3"/>
          <a:stretch>
            <a:fillRect/>
          </a:stretch>
        </p:blipFill>
        <p:spPr>
          <a:xfrm>
            <a:off x="0" y="2225"/>
            <a:ext cx="9144000" cy="5139049"/>
          </a:xfrm>
          <a:prstGeom prst="rect">
            <a:avLst/>
          </a:prstGeom>
        </p:spPr>
      </p:pic>
      <p:sp>
        <p:nvSpPr>
          <p:cNvPr id="12" name="Rectangle 11">
            <a:extLst>
              <a:ext uri="{FF2B5EF4-FFF2-40B4-BE49-F238E27FC236}">
                <a16:creationId xmlns:a16="http://schemas.microsoft.com/office/drawing/2014/main" id="{200B08DD-BD3F-4BB6-9F6B-019964B37FE9}"/>
              </a:ext>
            </a:extLst>
          </p:cNvPr>
          <p:cNvSpPr/>
          <p:nvPr/>
        </p:nvSpPr>
        <p:spPr>
          <a:xfrm>
            <a:off x="1906620" y="2031522"/>
            <a:ext cx="1517515" cy="10553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7190952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2782"/>
            <a:ext cx="9144000" cy="5137936"/>
          </a:xfrm>
          <a:prstGeom prst="rect">
            <a:avLst/>
          </a:prstGeom>
        </p:spPr>
      </p:pic>
      <p:sp>
        <p:nvSpPr>
          <p:cNvPr id="12" name="Rectangle 11">
            <a:extLst>
              <a:ext uri="{FF2B5EF4-FFF2-40B4-BE49-F238E27FC236}">
                <a16:creationId xmlns:a16="http://schemas.microsoft.com/office/drawing/2014/main" id="{DE4EFF08-8DA5-44E6-BE82-640418EE1229}"/>
              </a:ext>
            </a:extLst>
          </p:cNvPr>
          <p:cNvSpPr/>
          <p:nvPr/>
        </p:nvSpPr>
        <p:spPr>
          <a:xfrm>
            <a:off x="6090304" y="4325878"/>
            <a:ext cx="668438"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1422335"/>
            <a:ext cx="685800" cy="6858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2108136"/>
            <a:ext cx="685800" cy="6858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2782"/>
            <a:ext cx="9144000" cy="5137936"/>
          </a:xfrm>
          <a:prstGeom prst="rect">
            <a:avLst/>
          </a:prstGeom>
        </p:spPr>
      </p:pic>
      <p:sp>
        <p:nvSpPr>
          <p:cNvPr id="7" name="Rectangle 6">
            <a:extLst>
              <a:ext uri="{FF2B5EF4-FFF2-40B4-BE49-F238E27FC236}">
                <a16:creationId xmlns:a16="http://schemas.microsoft.com/office/drawing/2014/main" id="{470C6D7B-1038-4DDE-866D-9D384A74E349}"/>
              </a:ext>
            </a:extLst>
          </p:cNvPr>
          <p:cNvSpPr/>
          <p:nvPr/>
        </p:nvSpPr>
        <p:spPr>
          <a:xfrm>
            <a:off x="5190137" y="3588427"/>
            <a:ext cx="88205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98405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35615837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CA57F97D-8800-4E01-9577-AE9BFEC6DC28}"/>
              </a:ext>
            </a:extLst>
          </p:cNvPr>
          <p:cNvSpPr/>
          <p:nvPr/>
        </p:nvSpPr>
        <p:spPr>
          <a:xfrm>
            <a:off x="5268718" y="1009534"/>
            <a:ext cx="639164" cy="5263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54402244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552703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159357209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68503759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1321493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2805" y="0"/>
            <a:ext cx="9138390" cy="5143500"/>
          </a:xfrm>
          <a:prstGeom prst="rect">
            <a:avLst/>
          </a:prstGeom>
        </p:spPr>
      </p:pic>
      <p:sp>
        <p:nvSpPr>
          <p:cNvPr id="12" name="Rectangle 11">
            <a:extLst>
              <a:ext uri="{FF2B5EF4-FFF2-40B4-BE49-F238E27FC236}">
                <a16:creationId xmlns:a16="http://schemas.microsoft.com/office/drawing/2014/main" id="{014B9599-400F-46D0-B790-04973D6BA13D}"/>
              </a:ext>
            </a:extLst>
          </p:cNvPr>
          <p:cNvSpPr/>
          <p:nvPr/>
        </p:nvSpPr>
        <p:spPr>
          <a:xfrm>
            <a:off x="543569" y="2607469"/>
            <a:ext cx="57085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67BED1ED-66A8-4D66-915F-C949B78DF7F2}"/>
              </a:ext>
            </a:extLst>
          </p:cNvPr>
          <p:cNvSpPr/>
          <p:nvPr/>
        </p:nvSpPr>
        <p:spPr>
          <a:xfrm>
            <a:off x="7160895" y="2125981"/>
            <a:ext cx="868680" cy="1400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99EBEF5D-26FA-49C2-A35E-CFDCC56E18F4}"/>
              </a:ext>
            </a:extLst>
          </p:cNvPr>
          <p:cNvSpPr/>
          <p:nvPr/>
        </p:nvSpPr>
        <p:spPr>
          <a:xfrm>
            <a:off x="8026959" y="1948816"/>
            <a:ext cx="379806" cy="1733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42326625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2805" y="0"/>
            <a:ext cx="9138390" cy="5143500"/>
          </a:xfrm>
          <a:prstGeom prst="rect">
            <a:avLst/>
          </a:prstGeom>
        </p:spPr>
      </p:pic>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7595857" y="4470758"/>
            <a:ext cx="685800" cy="685800"/>
          </a:xfrm>
          <a:prstGeom prst="rect">
            <a:avLst/>
          </a:prstGeom>
        </p:spPr>
      </p:pic>
    </p:spTree>
    <p:extLst>
      <p:ext uri="{BB962C8B-B14F-4D97-AF65-F5344CB8AC3E}">
        <p14:creationId xmlns:p14="http://schemas.microsoft.com/office/powerpoint/2010/main" val="10143317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6167080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2FEB5151-731B-4857-889E-917E78E44943}"/>
              </a:ext>
            </a:extLst>
          </p:cNvPr>
          <p:cNvSpPr/>
          <p:nvPr/>
        </p:nvSpPr>
        <p:spPr>
          <a:xfrm>
            <a:off x="19050" y="836932"/>
            <a:ext cx="438150" cy="3965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2433430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3958"/>
            <a:ext cx="9144000" cy="5135585"/>
          </a:xfrm>
          <a:prstGeom prst="rect">
            <a:avLst/>
          </a:prstGeom>
        </p:spPr>
      </p:pic>
      <p:sp>
        <p:nvSpPr>
          <p:cNvPr id="12" name="Rectangle 11">
            <a:extLst>
              <a:ext uri="{FF2B5EF4-FFF2-40B4-BE49-F238E27FC236}">
                <a16:creationId xmlns:a16="http://schemas.microsoft.com/office/drawing/2014/main" id="{6C0645A8-4524-4379-A4F0-7AEF82438EE0}"/>
              </a:ext>
            </a:extLst>
          </p:cNvPr>
          <p:cNvSpPr/>
          <p:nvPr/>
        </p:nvSpPr>
        <p:spPr>
          <a:xfrm>
            <a:off x="8122443" y="2185987"/>
            <a:ext cx="989410" cy="38576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041241" y="2571751"/>
            <a:ext cx="4671554" cy="2355692"/>
          </a:xfrm>
          <a:prstGeom prst="rect">
            <a:avLst/>
          </a:prstGeom>
        </p:spPr>
      </p:pic>
    </p:spTree>
    <p:extLst>
      <p:ext uri="{BB962C8B-B14F-4D97-AF65-F5344CB8AC3E}">
        <p14:creationId xmlns:p14="http://schemas.microsoft.com/office/powerpoint/2010/main" val="283316448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4348"/>
            <a:ext cx="9144000" cy="5134805"/>
          </a:xfrm>
          <a:prstGeom prst="rect">
            <a:avLst/>
          </a:prstGeom>
        </p:spPr>
      </p:pic>
      <p:sp>
        <p:nvSpPr>
          <p:cNvPr id="12" name="Rectangle 11">
            <a:extLst>
              <a:ext uri="{FF2B5EF4-FFF2-40B4-BE49-F238E27FC236}">
                <a16:creationId xmlns:a16="http://schemas.microsoft.com/office/drawing/2014/main" id="{015ED5DA-5360-4E8A-8B42-50AC0FF12336}"/>
              </a:ext>
            </a:extLst>
          </p:cNvPr>
          <p:cNvSpPr/>
          <p:nvPr/>
        </p:nvSpPr>
        <p:spPr>
          <a:xfrm>
            <a:off x="7156997" y="3291257"/>
            <a:ext cx="1385541" cy="61048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0581319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3958"/>
            <a:ext cx="9144000" cy="5135585"/>
          </a:xfrm>
          <a:prstGeom prst="rect">
            <a:avLst/>
          </a:prstGeom>
        </p:spPr>
      </p:pic>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012284"/>
            <a:ext cx="3517940" cy="3131216"/>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7156997" y="4183397"/>
            <a:ext cx="14466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28A4292-6B93-4DF0-80AB-645EFA918682}"/>
              </a:ext>
            </a:extLst>
          </p:cNvPr>
          <p:cNvSpPr/>
          <p:nvPr/>
        </p:nvSpPr>
        <p:spPr>
          <a:xfrm>
            <a:off x="2729883" y="2583402"/>
            <a:ext cx="788056" cy="99873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0539476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7B4DA552-5316-4411-9745-E9BAF4EFFB44}"/>
              </a:ext>
            </a:extLst>
          </p:cNvPr>
          <p:cNvGrpSpPr/>
          <p:nvPr/>
        </p:nvGrpSpPr>
        <p:grpSpPr>
          <a:xfrm>
            <a:off x="5391148" y="182880"/>
            <a:ext cx="3569971" cy="4834604"/>
            <a:chOff x="4572000" y="182880"/>
            <a:chExt cx="4389120" cy="4777740"/>
          </a:xfrm>
          <a:solidFill>
            <a:schemeClr val="bg2">
              <a:lumMod val="95000"/>
            </a:schemeClr>
          </a:solidFill>
        </p:grpSpPr>
        <p:sp>
          <p:nvSpPr>
            <p:cNvPr id="36" name="Parallelogram 35">
              <a:extLst>
                <a:ext uri="{FF2B5EF4-FFF2-40B4-BE49-F238E27FC236}">
                  <a16:creationId xmlns:a16="http://schemas.microsoft.com/office/drawing/2014/main" id="{1129081A-5833-44D0-97DE-7A7B29463825}"/>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ACC86B3-F36E-48F2-9BF1-2B7EF3480955}"/>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425723"/>
            <a:ext cx="2788333" cy="3717777"/>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60595" y="4927442"/>
            <a:ext cx="623628" cy="189380"/>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2"/>
          </a:solidFill>
          <a:ln w="25400" cap="flat" cmpd="sng" algn="ctr">
            <a:noFill/>
            <a:prstDash val="solid"/>
          </a:ln>
          <a:effectLst/>
        </p:spPr>
        <p:txBody>
          <a:bodyPr rtlCol="0" anchor="ctr"/>
          <a:lstStyle/>
          <a:p>
            <a:pPr algn="ctr" defTabSz="685800">
              <a:defRPr/>
            </a:pPr>
            <a:endParaRPr lang="en-US" sz="1765" kern="0">
              <a:solidFill>
                <a:srgbClr val="AFAFAF"/>
              </a:solidFill>
              <a:latin typeface="Segoe UI"/>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3501451" y="3604603"/>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01454" y="3604603"/>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622155" y="4106959"/>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625299" y="3603162"/>
            <a:ext cx="306362" cy="30636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99355" y="4622052"/>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6612174" y="3603163"/>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501452" y="4113328"/>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3499356" y="4618064"/>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6625299" y="4107330"/>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3501451" y="4111661"/>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7889013" y="271450"/>
            <a:ext cx="1058726" cy="668350"/>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3600" dirty="0">
                <a:solidFill>
                  <a:prstClr val="black"/>
                </a:solidFill>
                <a:latin typeface="Segoe UI Semibold" panose="020B0702040204020203" pitchFamily="34" charset="0"/>
                <a:cs typeface="Segoe UI Semibold" panose="020B0702040204020203" pitchFamily="34" charset="0"/>
              </a:rPr>
              <a:t>Bio</a:t>
            </a:r>
          </a:p>
        </p:txBody>
      </p:sp>
      <p:sp>
        <p:nvSpPr>
          <p:cNvPr id="17" name="Rectangle 16">
            <a:extLst>
              <a:ext uri="{FF2B5EF4-FFF2-40B4-BE49-F238E27FC236}">
                <a16:creationId xmlns:a16="http://schemas.microsoft.com/office/drawing/2014/main" id="{214F10FD-F907-4D0E-B573-E0683FFC2398}"/>
              </a:ext>
            </a:extLst>
          </p:cNvPr>
          <p:cNvSpPr/>
          <p:nvPr/>
        </p:nvSpPr>
        <p:spPr>
          <a:xfrm>
            <a:off x="4679949" y="912151"/>
            <a:ext cx="4267789" cy="1354217"/>
          </a:xfrm>
          <a:prstGeom prst="rect">
            <a:avLst/>
          </a:prstGeom>
        </p:spPr>
        <p:txBody>
          <a:bodyPr wrap="square">
            <a:spAutoFit/>
          </a:bodyPr>
          <a:lstStyle/>
          <a:p>
            <a:pPr algn="r" defTabSz="685800">
              <a:defRPr/>
            </a:pPr>
            <a:r>
              <a:rPr lang="en-US" sz="1600" dirty="0">
                <a:solidFill>
                  <a:prstClr val="black"/>
                </a:solidFill>
                <a:latin typeface="Segoe UI (Body)"/>
                <a:cs typeface="Segoe UI Light" panose="020B0502040204020203" pitchFamily="34" charset="0"/>
              </a:rPr>
              <a:t>Father</a:t>
            </a:r>
          </a:p>
          <a:p>
            <a:pPr algn="r" defTabSz="685800">
              <a:defRPr/>
            </a:pPr>
            <a:r>
              <a:rPr lang="en-US" sz="1600" dirty="0">
                <a:solidFill>
                  <a:prstClr val="black"/>
                </a:solidFill>
                <a:latin typeface="Segoe UI (Body)"/>
                <a:cs typeface="Segoe UI Light" panose="020B0502040204020203" pitchFamily="34" charset="0"/>
              </a:rPr>
              <a:t>Developer since 1995</a:t>
            </a:r>
          </a:p>
          <a:p>
            <a:pPr algn="r" defTabSz="685800">
              <a:defRPr/>
            </a:pPr>
            <a:r>
              <a:rPr lang="en-US" sz="1600" dirty="0">
                <a:solidFill>
                  <a:prstClr val="black"/>
                </a:solidFill>
                <a:latin typeface="Segoe UI (Body)"/>
                <a:cs typeface="Segoe UI Light" panose="020B0502040204020203" pitchFamily="34" charset="0"/>
              </a:rPr>
              <a:t>SQL Server since 1999</a:t>
            </a:r>
          </a:p>
          <a:p>
            <a:pPr algn="r" defTabSz="685800">
              <a:defRPr/>
            </a:pPr>
            <a:r>
              <a:rPr lang="en-US" sz="1600" dirty="0">
                <a:solidFill>
                  <a:prstClr val="black"/>
                </a:solidFill>
                <a:latin typeface="Segoe UI (Body)"/>
                <a:cs typeface="Segoe UI Light" panose="020B0502040204020203" pitchFamily="34" charset="0"/>
              </a:rPr>
              <a:t>Fleitas Arts, LLC since 2008</a:t>
            </a:r>
          </a:p>
          <a:p>
            <a:pPr algn="r" defTabSz="685800">
              <a:defRPr/>
            </a:pPr>
            <a:r>
              <a:rPr lang="en-US" sz="1600" dirty="0">
                <a:solidFill>
                  <a:prstClr val="black"/>
                </a:solidFill>
                <a:latin typeface="Segoe UI (Body)"/>
                <a:cs typeface="Segoe UI Light" panose="020B0502040204020203" pitchFamily="34" charset="0"/>
              </a:rPr>
              <a:t>USCG Auxiliary Flotilla Staff Officer</a:t>
            </a:r>
          </a:p>
        </p:txBody>
      </p:sp>
      <p:pic>
        <p:nvPicPr>
          <p:cNvPr id="32" name="Picture 4" descr="Exam 778: Analyzing and Visualizing Data with Power BI">
            <a:hlinkClick r:id="rId17"/>
            <a:extLst>
              <a:ext uri="{FF2B5EF4-FFF2-40B4-BE49-F238E27FC236}">
                <a16:creationId xmlns:a16="http://schemas.microsoft.com/office/drawing/2014/main" id="{0D462E85-3AF3-4AD6-82D2-420981B4DA55}"/>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96824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Microsoft Certified: Azure Administrator Associate">
            <a:hlinkClick r:id="rId19"/>
            <a:extLst>
              <a:ext uri="{FF2B5EF4-FFF2-40B4-BE49-F238E27FC236}">
                <a16:creationId xmlns:a16="http://schemas.microsoft.com/office/drawing/2014/main" id="{55FA566E-0CA0-49C4-A032-4B037D8EF504}"/>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313776" y="2470230"/>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Microsoft Certified: Azure AI Engineer Associate">
            <a:hlinkClick r:id="rId21"/>
            <a:extLst>
              <a:ext uri="{FF2B5EF4-FFF2-40B4-BE49-F238E27FC236}">
                <a16:creationId xmlns:a16="http://schemas.microsoft.com/office/drawing/2014/main" id="{4709FAD6-6D6B-4885-AD04-6642DD82E8B1}"/>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66507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A3A5BD6F-633E-41BA-8277-708897749F64}"/>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196261" y="271450"/>
            <a:ext cx="6693490" cy="1167855"/>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lang="en-US" sz="3600" dirty="0">
                <a:solidFill>
                  <a:prstClr val="black"/>
                </a:solidFill>
                <a:latin typeface="Segoe UI Semibold" panose="020B0702040204020203" pitchFamily="34" charset="0"/>
                <a:cs typeface="Segoe UI Semibold" panose="020B0702040204020203" pitchFamily="34" charset="0"/>
              </a:rPr>
              <a:t>Hiram Fleitas</a:t>
            </a:r>
          </a:p>
          <a:p>
            <a:pPr defTabSz="457189">
              <a:defRPr/>
            </a:pPr>
            <a:r>
              <a:rPr lang="en-US" sz="1800" dirty="0">
                <a:solidFill>
                  <a:schemeClr val="accent2"/>
                </a:solidFill>
                <a:latin typeface="Segoe UI Semibold" panose="020B0702040204020203" pitchFamily="34" charset="0"/>
                <a:cs typeface="Segoe UI Semibold" panose="020B0702040204020203" pitchFamily="34" charset="0"/>
              </a:rPr>
              <a:t>Principal Database Architect,</a:t>
            </a:r>
          </a:p>
          <a:p>
            <a:pPr defTabSz="457189">
              <a:defRPr/>
            </a:pPr>
            <a:r>
              <a:rPr lang="en-US" sz="1800" dirty="0">
                <a:solidFill>
                  <a:schemeClr val="accent2"/>
                </a:solidFill>
                <a:latin typeface="Segoe UI Semibold" panose="020B0702040204020203" pitchFamily="34" charset="0"/>
                <a:cs typeface="Segoe UI Semibold" panose="020B0702040204020203" pitchFamily="34" charset="0"/>
              </a:rPr>
              <a:t>Universal Property &amp; Casualty Insurance Company</a:t>
            </a:r>
          </a:p>
        </p:txBody>
      </p:sp>
    </p:spTree>
    <p:extLst>
      <p:ext uri="{BB962C8B-B14F-4D97-AF65-F5344CB8AC3E}">
        <p14:creationId xmlns:p14="http://schemas.microsoft.com/office/powerpoint/2010/main" val="19201319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5735"/>
            <a:ext cx="9144000" cy="5132030"/>
          </a:xfrm>
          <a:prstGeom prst="rect">
            <a:avLst/>
          </a:prstGeom>
        </p:spPr>
      </p:pic>
    </p:spTree>
    <p:extLst>
      <p:ext uri="{BB962C8B-B14F-4D97-AF65-F5344CB8AC3E}">
        <p14:creationId xmlns:p14="http://schemas.microsoft.com/office/powerpoint/2010/main" val="40341622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8617904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872232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25296217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3532812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75117446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54173989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2917351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Universal Insurance Holdings (UVE): Growth Story</a:t>
            </a:r>
          </a:p>
        </p:txBody>
      </p:sp>
      <p:sp>
        <p:nvSpPr>
          <p:cNvPr id="61" name="TextBox 60"/>
          <p:cNvSpPr txBox="1"/>
          <p:nvPr/>
        </p:nvSpPr>
        <p:spPr>
          <a:xfrm>
            <a:off x="1514020" y="807029"/>
            <a:ext cx="1529449" cy="230832"/>
          </a:xfrm>
          <a:prstGeom prst="rect">
            <a:avLst/>
          </a:prstGeom>
          <a:noFill/>
        </p:spPr>
        <p:txBody>
          <a:bodyPr wrap="square" rtlCol="0">
            <a:spAutoFit/>
          </a:bodyPr>
          <a:lstStyle/>
          <a:p>
            <a:r>
              <a:rPr lang="en-US" sz="900" b="1" dirty="0">
                <a:solidFill>
                  <a:srgbClr val="104C10"/>
                </a:solidFill>
              </a:rPr>
              <a:t>Doing business</a:t>
            </a:r>
          </a:p>
        </p:txBody>
      </p:sp>
      <p:sp>
        <p:nvSpPr>
          <p:cNvPr id="62" name="TextBox 61"/>
          <p:cNvSpPr txBox="1"/>
          <p:nvPr/>
        </p:nvSpPr>
        <p:spPr>
          <a:xfrm>
            <a:off x="2542875" y="807029"/>
            <a:ext cx="1529449" cy="230832"/>
          </a:xfrm>
          <a:prstGeom prst="rect">
            <a:avLst/>
          </a:prstGeom>
          <a:noFill/>
        </p:spPr>
        <p:txBody>
          <a:bodyPr wrap="square" rtlCol="0">
            <a:spAutoFit/>
          </a:bodyPr>
          <a:lstStyle/>
          <a:p>
            <a:r>
              <a:rPr lang="en-US" sz="900" b="1" dirty="0">
                <a:solidFill>
                  <a:srgbClr val="8EBC1A"/>
                </a:solidFill>
              </a:rPr>
              <a:t>Licensed</a:t>
            </a:r>
          </a:p>
        </p:txBody>
      </p:sp>
      <p:cxnSp>
        <p:nvCxnSpPr>
          <p:cNvPr id="63" name="Straight Connector 62"/>
          <p:cNvCxnSpPr/>
          <p:nvPr/>
        </p:nvCxnSpPr>
        <p:spPr>
          <a:xfrm>
            <a:off x="2503269" y="751215"/>
            <a:ext cx="0" cy="3132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4722737" y="628692"/>
            <a:ext cx="4486263" cy="461665"/>
          </a:xfrm>
          <a:prstGeom prst="rect">
            <a:avLst/>
          </a:prstGeom>
        </p:spPr>
        <p:txBody>
          <a:bodyPr wrap="square">
            <a:spAutoFit/>
          </a:bodyPr>
          <a:lstStyle/>
          <a:p>
            <a:pPr algn="ctr"/>
            <a:r>
              <a:rPr lang="en-US" sz="1200" b="1" dirty="0">
                <a:solidFill>
                  <a:schemeClr val="tx1">
                    <a:lumMod val="75000"/>
                    <a:lumOff val="25000"/>
                  </a:schemeClr>
                </a:solidFill>
              </a:rPr>
              <a:t>Leading holding company of personal residential homeowners insurance and services</a:t>
            </a:r>
          </a:p>
        </p:txBody>
      </p:sp>
      <p:sp>
        <p:nvSpPr>
          <p:cNvPr id="67" name="Rectangle 66">
            <a:extLst>
              <a:ext uri="{FF2B5EF4-FFF2-40B4-BE49-F238E27FC236}">
                <a16:creationId xmlns:a16="http://schemas.microsoft.com/office/drawing/2014/main" id="{1F1442BA-8E59-4C5E-B6E0-8FE7706398AF}"/>
              </a:ext>
            </a:extLst>
          </p:cNvPr>
          <p:cNvSpPr/>
          <p:nvPr/>
        </p:nvSpPr>
        <p:spPr>
          <a:xfrm>
            <a:off x="5404841"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B+</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Y18 Direct Premium Written</a:t>
            </a:r>
          </a:p>
        </p:txBody>
      </p:sp>
      <p:sp>
        <p:nvSpPr>
          <p:cNvPr id="68" name="Rectangle 67">
            <a:extLst>
              <a:ext uri="{FF2B5EF4-FFF2-40B4-BE49-F238E27FC236}">
                <a16:creationId xmlns:a16="http://schemas.microsoft.com/office/drawing/2014/main" id="{990A3A0C-A7DB-4302-8386-AC5D802BB143}"/>
              </a:ext>
            </a:extLst>
          </p:cNvPr>
          <p:cNvSpPr/>
          <p:nvPr/>
        </p:nvSpPr>
        <p:spPr>
          <a:xfrm>
            <a:off x="7068713"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9,0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Independent agents in the distribution channel</a:t>
            </a:r>
          </a:p>
        </p:txBody>
      </p:sp>
      <p:sp>
        <p:nvSpPr>
          <p:cNvPr id="69" name="Rectangle 68">
            <a:extLst>
              <a:ext uri="{FF2B5EF4-FFF2-40B4-BE49-F238E27FC236}">
                <a16:creationId xmlns:a16="http://schemas.microsoft.com/office/drawing/2014/main" id="{A62570AF-DA1B-4A73-9722-0773D2249CFF}"/>
              </a:ext>
            </a:extLst>
          </p:cNvPr>
          <p:cNvSpPr/>
          <p:nvPr/>
        </p:nvSpPr>
        <p:spPr>
          <a:xfrm>
            <a:off x="5404841" y="3959685"/>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104C10"/>
                </a:solidFill>
                <a:latin typeface="Arial" panose="020B0604020202020204" pitchFamily="34" charset="0"/>
                <a:cs typeface="Arial" panose="020B0604020202020204" pitchFamily="34" charset="0"/>
              </a:rPr>
              <a:t>Ft. Lauderdale, FL</a:t>
            </a:r>
          </a:p>
        </p:txBody>
      </p:sp>
      <p:sp>
        <p:nvSpPr>
          <p:cNvPr id="70" name="Rectangle 69">
            <a:extLst>
              <a:ext uri="{FF2B5EF4-FFF2-40B4-BE49-F238E27FC236}">
                <a16:creationId xmlns:a16="http://schemas.microsoft.com/office/drawing/2014/main" id="{DBCEB730-2ABA-444B-A239-2C0267BD8C05}"/>
              </a:ext>
            </a:extLst>
          </p:cNvPr>
          <p:cNvSpPr/>
          <p:nvPr/>
        </p:nvSpPr>
        <p:spPr>
          <a:xfrm>
            <a:off x="5404841"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8</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 States actively doing business</a:t>
            </a:r>
          </a:p>
        </p:txBody>
      </p:sp>
      <p:sp>
        <p:nvSpPr>
          <p:cNvPr id="71" name="Rectangle 70">
            <a:extLst>
              <a:ext uri="{FF2B5EF4-FFF2-40B4-BE49-F238E27FC236}">
                <a16:creationId xmlns:a16="http://schemas.microsoft.com/office/drawing/2014/main" id="{CD66F20B-66B5-4F4A-848E-C430B055393B}"/>
              </a:ext>
            </a:extLst>
          </p:cNvPr>
          <p:cNvSpPr/>
          <p:nvPr/>
        </p:nvSpPr>
        <p:spPr>
          <a:xfrm>
            <a:off x="7068713" y="3959684"/>
            <a:ext cx="1508760" cy="781812"/>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A</a:t>
            </a:r>
          </a:p>
          <a:p>
            <a:pPr algn="ctr"/>
            <a:r>
              <a:rPr lang="en-US" sz="1050" b="1" dirty="0">
                <a:solidFill>
                  <a:srgbClr val="104C10"/>
                </a:solidFill>
                <a:latin typeface="Arial" panose="020B0604020202020204" pitchFamily="34" charset="0"/>
                <a:cs typeface="Arial" panose="020B0604020202020204" pitchFamily="34" charset="0"/>
              </a:rPr>
              <a:t>Exceptional</a:t>
            </a:r>
            <a:endParaRPr lang="en-US" sz="1050" dirty="0">
              <a:solidFill>
                <a:schemeClr val="tx1"/>
              </a:solidFill>
              <a:latin typeface="Arial" panose="020B0604020202020204" pitchFamily="34" charset="0"/>
              <a:cs typeface="Arial" panose="020B0604020202020204" pitchFamily="34" charset="0"/>
            </a:endParaRP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Demotech financial stability rating</a:t>
            </a:r>
          </a:p>
        </p:txBody>
      </p:sp>
      <p:sp>
        <p:nvSpPr>
          <p:cNvPr id="72" name="Rectangle 71">
            <a:extLst>
              <a:ext uri="{FF2B5EF4-FFF2-40B4-BE49-F238E27FC236}">
                <a16:creationId xmlns:a16="http://schemas.microsoft.com/office/drawing/2014/main" id="{CCA8BDED-00AD-4B16-8B17-3A721417AAC5}"/>
              </a:ext>
            </a:extLst>
          </p:cNvPr>
          <p:cNvSpPr/>
          <p:nvPr/>
        </p:nvSpPr>
        <p:spPr>
          <a:xfrm>
            <a:off x="5404841"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8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ull time equivalent employees</a:t>
            </a:r>
            <a:endParaRPr lang="en-US" sz="750" dirty="0">
              <a:solidFill>
                <a:srgbClr val="FF0000"/>
              </a:solidFill>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1F1442BA-8E59-4C5E-B6E0-8FE7706398AF}"/>
              </a:ext>
            </a:extLst>
          </p:cNvPr>
          <p:cNvSpPr/>
          <p:nvPr/>
        </p:nvSpPr>
        <p:spPr>
          <a:xfrm>
            <a:off x="7068713"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Best-in-class Return on Equity</a:t>
            </a:r>
          </a:p>
          <a:p>
            <a:pPr algn="ctr"/>
            <a:r>
              <a:rPr lang="en-US" sz="750" dirty="0">
                <a:solidFill>
                  <a:schemeClr val="tx1"/>
                </a:solidFill>
                <a:latin typeface="Arial" panose="020B0604020202020204" pitchFamily="34" charset="0"/>
                <a:cs typeface="Arial" panose="020B0604020202020204" pitchFamily="34" charset="0"/>
              </a:rPr>
              <a:t>(5-yr Average)</a:t>
            </a:r>
          </a:p>
        </p:txBody>
      </p:sp>
      <p:sp>
        <p:nvSpPr>
          <p:cNvPr id="74" name="Rectangle 73">
            <a:extLst>
              <a:ext uri="{FF2B5EF4-FFF2-40B4-BE49-F238E27FC236}">
                <a16:creationId xmlns:a16="http://schemas.microsoft.com/office/drawing/2014/main" id="{1F1442BA-8E59-4C5E-B6E0-8FE7706398AF}"/>
              </a:ext>
            </a:extLst>
          </p:cNvPr>
          <p:cNvSpPr/>
          <p:nvPr/>
        </p:nvSpPr>
        <p:spPr>
          <a:xfrm>
            <a:off x="7068713"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gt;800K</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Customer policies managed</a:t>
            </a:r>
          </a:p>
        </p:txBody>
      </p:sp>
      <p:sp>
        <p:nvSpPr>
          <p:cNvPr id="124" name="TextBox 123"/>
          <p:cNvSpPr txBox="1"/>
          <p:nvPr/>
        </p:nvSpPr>
        <p:spPr>
          <a:xfrm>
            <a:off x="5404841" y="4560966"/>
            <a:ext cx="1508760" cy="207749"/>
          </a:xfrm>
          <a:prstGeom prst="rect">
            <a:avLst/>
          </a:prstGeom>
          <a:noFill/>
        </p:spPr>
        <p:txBody>
          <a:bodyPr wrap="square" rtlCol="0">
            <a:spAutoFit/>
          </a:bodyPr>
          <a:lstStyle/>
          <a:p>
            <a:pPr algn="ctr"/>
            <a:r>
              <a:rPr lang="en-US" sz="750" dirty="0"/>
              <a:t>Headquarters</a:t>
            </a:r>
          </a:p>
        </p:txBody>
      </p:sp>
      <p:sp>
        <p:nvSpPr>
          <p:cNvPr id="102" name="TextBox 101"/>
          <p:cNvSpPr txBox="1"/>
          <p:nvPr/>
        </p:nvSpPr>
        <p:spPr>
          <a:xfrm>
            <a:off x="2924468" y="2052719"/>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grpSp>
        <p:nvGrpSpPr>
          <p:cNvPr id="103" name="Group 102"/>
          <p:cNvGrpSpPr/>
          <p:nvPr/>
        </p:nvGrpSpPr>
        <p:grpSpPr>
          <a:xfrm>
            <a:off x="232908" y="1314109"/>
            <a:ext cx="4518129" cy="3292793"/>
            <a:chOff x="310544" y="1752144"/>
            <a:chExt cx="6024172" cy="4390391"/>
          </a:xfrm>
        </p:grpSpPr>
        <p:grpSp>
          <p:nvGrpSpPr>
            <p:cNvPr id="104" name="Group 103"/>
            <p:cNvGrpSpPr/>
            <p:nvPr/>
          </p:nvGrpSpPr>
          <p:grpSpPr>
            <a:xfrm>
              <a:off x="310544" y="1752144"/>
              <a:ext cx="5986438" cy="4240549"/>
              <a:chOff x="566738" y="9525"/>
              <a:chExt cx="10760075" cy="6796088"/>
            </a:xfrm>
            <a:effectLst>
              <a:outerShdw blurRad="63500" sx="102000" sy="102000" algn="ctr" rotWithShape="0">
                <a:prstClr val="black">
                  <a:alpha val="40000"/>
                </a:prstClr>
              </a:outerShdw>
            </a:effectLst>
          </p:grpSpPr>
          <p:sp>
            <p:nvSpPr>
              <p:cNvPr id="129" name="Freeform 5">
                <a:extLst/>
              </p:cNvPr>
              <p:cNvSpPr>
                <a:spLocks noEditPoints="1"/>
              </p:cNvSpPr>
              <p:nvPr/>
            </p:nvSpPr>
            <p:spPr bwMode="auto">
              <a:xfrm>
                <a:off x="3219450" y="5886450"/>
                <a:ext cx="1322388" cy="849313"/>
              </a:xfrm>
              <a:custGeom>
                <a:avLst/>
                <a:gdLst>
                  <a:gd name="T0" fmla="*/ 11 w 833"/>
                  <a:gd name="T1" fmla="*/ 44 h 535"/>
                  <a:gd name="T2" fmla="*/ 34 w 833"/>
                  <a:gd name="T3" fmla="*/ 49 h 535"/>
                  <a:gd name="T4" fmla="*/ 0 w 833"/>
                  <a:gd name="T5" fmla="*/ 71 h 535"/>
                  <a:gd name="T6" fmla="*/ 122 w 833"/>
                  <a:gd name="T7" fmla="*/ 60 h 535"/>
                  <a:gd name="T8" fmla="*/ 149 w 833"/>
                  <a:gd name="T9" fmla="*/ 33 h 535"/>
                  <a:gd name="T10" fmla="*/ 111 w 833"/>
                  <a:gd name="T11" fmla="*/ 0 h 535"/>
                  <a:gd name="T12" fmla="*/ 72 w 833"/>
                  <a:gd name="T13" fmla="*/ 44 h 535"/>
                  <a:gd name="T14" fmla="*/ 326 w 833"/>
                  <a:gd name="T15" fmla="*/ 154 h 535"/>
                  <a:gd name="T16" fmla="*/ 353 w 833"/>
                  <a:gd name="T17" fmla="*/ 149 h 535"/>
                  <a:gd name="T18" fmla="*/ 392 w 833"/>
                  <a:gd name="T19" fmla="*/ 160 h 535"/>
                  <a:gd name="T20" fmla="*/ 375 w 833"/>
                  <a:gd name="T21" fmla="*/ 138 h 535"/>
                  <a:gd name="T22" fmla="*/ 348 w 833"/>
                  <a:gd name="T23" fmla="*/ 82 h 535"/>
                  <a:gd name="T24" fmla="*/ 298 w 833"/>
                  <a:gd name="T25" fmla="*/ 116 h 535"/>
                  <a:gd name="T26" fmla="*/ 458 w 833"/>
                  <a:gd name="T27" fmla="*/ 165 h 535"/>
                  <a:gd name="T28" fmla="*/ 497 w 833"/>
                  <a:gd name="T29" fmla="*/ 171 h 535"/>
                  <a:gd name="T30" fmla="*/ 541 w 833"/>
                  <a:gd name="T31" fmla="*/ 187 h 535"/>
                  <a:gd name="T32" fmla="*/ 491 w 833"/>
                  <a:gd name="T33" fmla="*/ 193 h 535"/>
                  <a:gd name="T34" fmla="*/ 486 w 833"/>
                  <a:gd name="T35" fmla="*/ 220 h 535"/>
                  <a:gd name="T36" fmla="*/ 524 w 833"/>
                  <a:gd name="T37" fmla="*/ 242 h 535"/>
                  <a:gd name="T38" fmla="*/ 513 w 833"/>
                  <a:gd name="T39" fmla="*/ 215 h 535"/>
                  <a:gd name="T40" fmla="*/ 486 w 833"/>
                  <a:gd name="T41" fmla="*/ 220 h 535"/>
                  <a:gd name="T42" fmla="*/ 557 w 833"/>
                  <a:gd name="T43" fmla="*/ 193 h 535"/>
                  <a:gd name="T44" fmla="*/ 624 w 833"/>
                  <a:gd name="T45" fmla="*/ 215 h 535"/>
                  <a:gd name="T46" fmla="*/ 657 w 833"/>
                  <a:gd name="T47" fmla="*/ 253 h 535"/>
                  <a:gd name="T48" fmla="*/ 591 w 833"/>
                  <a:gd name="T49" fmla="*/ 270 h 535"/>
                  <a:gd name="T50" fmla="*/ 541 w 833"/>
                  <a:gd name="T51" fmla="*/ 209 h 535"/>
                  <a:gd name="T52" fmla="*/ 673 w 833"/>
                  <a:gd name="T53" fmla="*/ 314 h 535"/>
                  <a:gd name="T54" fmla="*/ 756 w 833"/>
                  <a:gd name="T55" fmla="*/ 353 h 535"/>
                  <a:gd name="T56" fmla="*/ 789 w 833"/>
                  <a:gd name="T57" fmla="*/ 386 h 535"/>
                  <a:gd name="T58" fmla="*/ 833 w 833"/>
                  <a:gd name="T59" fmla="*/ 441 h 535"/>
                  <a:gd name="T60" fmla="*/ 806 w 833"/>
                  <a:gd name="T61" fmla="*/ 474 h 535"/>
                  <a:gd name="T62" fmla="*/ 761 w 833"/>
                  <a:gd name="T63" fmla="*/ 480 h 535"/>
                  <a:gd name="T64" fmla="*/ 723 w 833"/>
                  <a:gd name="T65" fmla="*/ 513 h 535"/>
                  <a:gd name="T66" fmla="*/ 690 w 833"/>
                  <a:gd name="T67" fmla="*/ 535 h 535"/>
                  <a:gd name="T68" fmla="*/ 662 w 833"/>
                  <a:gd name="T69" fmla="*/ 485 h 535"/>
                  <a:gd name="T70" fmla="*/ 657 w 833"/>
                  <a:gd name="T71" fmla="*/ 424 h 535"/>
                  <a:gd name="T72" fmla="*/ 640 w 833"/>
                  <a:gd name="T73" fmla="*/ 391 h 535"/>
                  <a:gd name="T74" fmla="*/ 673 w 833"/>
                  <a:gd name="T75" fmla="*/ 364 h 535"/>
                  <a:gd name="T76" fmla="*/ 662 w 833"/>
                  <a:gd name="T77" fmla="*/ 342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3" h="535">
                    <a:moveTo>
                      <a:pt x="0" y="71"/>
                    </a:moveTo>
                    <a:lnTo>
                      <a:pt x="11" y="44"/>
                    </a:lnTo>
                    <a:lnTo>
                      <a:pt x="28" y="44"/>
                    </a:lnTo>
                    <a:lnTo>
                      <a:pt x="34" y="49"/>
                    </a:lnTo>
                    <a:lnTo>
                      <a:pt x="17" y="71"/>
                    </a:lnTo>
                    <a:lnTo>
                      <a:pt x="0" y="71"/>
                    </a:lnTo>
                    <a:close/>
                    <a:moveTo>
                      <a:pt x="72" y="44"/>
                    </a:moveTo>
                    <a:lnTo>
                      <a:pt x="122" y="60"/>
                    </a:lnTo>
                    <a:lnTo>
                      <a:pt x="133" y="60"/>
                    </a:lnTo>
                    <a:lnTo>
                      <a:pt x="149" y="33"/>
                    </a:lnTo>
                    <a:lnTo>
                      <a:pt x="144" y="5"/>
                    </a:lnTo>
                    <a:lnTo>
                      <a:pt x="111" y="0"/>
                    </a:lnTo>
                    <a:lnTo>
                      <a:pt x="83" y="16"/>
                    </a:lnTo>
                    <a:lnTo>
                      <a:pt x="72" y="44"/>
                    </a:lnTo>
                    <a:close/>
                    <a:moveTo>
                      <a:pt x="298" y="116"/>
                    </a:moveTo>
                    <a:lnTo>
                      <a:pt x="326" y="154"/>
                    </a:lnTo>
                    <a:lnTo>
                      <a:pt x="348" y="154"/>
                    </a:lnTo>
                    <a:lnTo>
                      <a:pt x="353" y="149"/>
                    </a:lnTo>
                    <a:lnTo>
                      <a:pt x="364" y="160"/>
                    </a:lnTo>
                    <a:lnTo>
                      <a:pt x="392" y="160"/>
                    </a:lnTo>
                    <a:lnTo>
                      <a:pt x="397" y="149"/>
                    </a:lnTo>
                    <a:lnTo>
                      <a:pt x="375" y="138"/>
                    </a:lnTo>
                    <a:lnTo>
                      <a:pt x="364" y="110"/>
                    </a:lnTo>
                    <a:lnTo>
                      <a:pt x="348" y="82"/>
                    </a:lnTo>
                    <a:lnTo>
                      <a:pt x="304" y="104"/>
                    </a:lnTo>
                    <a:lnTo>
                      <a:pt x="298" y="116"/>
                    </a:lnTo>
                    <a:close/>
                    <a:moveTo>
                      <a:pt x="447" y="182"/>
                    </a:moveTo>
                    <a:lnTo>
                      <a:pt x="458" y="165"/>
                    </a:lnTo>
                    <a:lnTo>
                      <a:pt x="491" y="176"/>
                    </a:lnTo>
                    <a:lnTo>
                      <a:pt x="497" y="171"/>
                    </a:lnTo>
                    <a:lnTo>
                      <a:pt x="541" y="176"/>
                    </a:lnTo>
                    <a:lnTo>
                      <a:pt x="541" y="187"/>
                    </a:lnTo>
                    <a:lnTo>
                      <a:pt x="519" y="198"/>
                    </a:lnTo>
                    <a:lnTo>
                      <a:pt x="491" y="193"/>
                    </a:lnTo>
                    <a:lnTo>
                      <a:pt x="447" y="182"/>
                    </a:lnTo>
                    <a:close/>
                    <a:moveTo>
                      <a:pt x="486" y="220"/>
                    </a:moveTo>
                    <a:lnTo>
                      <a:pt x="502" y="248"/>
                    </a:lnTo>
                    <a:lnTo>
                      <a:pt x="524" y="242"/>
                    </a:lnTo>
                    <a:lnTo>
                      <a:pt x="524" y="226"/>
                    </a:lnTo>
                    <a:lnTo>
                      <a:pt x="513" y="215"/>
                    </a:lnTo>
                    <a:lnTo>
                      <a:pt x="486" y="209"/>
                    </a:lnTo>
                    <a:lnTo>
                      <a:pt x="486" y="220"/>
                    </a:lnTo>
                    <a:close/>
                    <a:moveTo>
                      <a:pt x="541" y="209"/>
                    </a:moveTo>
                    <a:lnTo>
                      <a:pt x="557" y="193"/>
                    </a:lnTo>
                    <a:lnTo>
                      <a:pt x="591" y="209"/>
                    </a:lnTo>
                    <a:lnTo>
                      <a:pt x="624" y="215"/>
                    </a:lnTo>
                    <a:lnTo>
                      <a:pt x="657" y="237"/>
                    </a:lnTo>
                    <a:lnTo>
                      <a:pt x="657" y="253"/>
                    </a:lnTo>
                    <a:lnTo>
                      <a:pt x="629" y="264"/>
                    </a:lnTo>
                    <a:lnTo>
                      <a:pt x="591" y="270"/>
                    </a:lnTo>
                    <a:lnTo>
                      <a:pt x="574" y="259"/>
                    </a:lnTo>
                    <a:lnTo>
                      <a:pt x="541" y="209"/>
                    </a:lnTo>
                    <a:close/>
                    <a:moveTo>
                      <a:pt x="662" y="325"/>
                    </a:moveTo>
                    <a:lnTo>
                      <a:pt x="673" y="314"/>
                    </a:lnTo>
                    <a:lnTo>
                      <a:pt x="701" y="331"/>
                    </a:lnTo>
                    <a:lnTo>
                      <a:pt x="756" y="353"/>
                    </a:lnTo>
                    <a:lnTo>
                      <a:pt x="778" y="369"/>
                    </a:lnTo>
                    <a:lnTo>
                      <a:pt x="789" y="386"/>
                    </a:lnTo>
                    <a:lnTo>
                      <a:pt x="806" y="419"/>
                    </a:lnTo>
                    <a:lnTo>
                      <a:pt x="833" y="441"/>
                    </a:lnTo>
                    <a:lnTo>
                      <a:pt x="833" y="447"/>
                    </a:lnTo>
                    <a:lnTo>
                      <a:pt x="806" y="474"/>
                    </a:lnTo>
                    <a:lnTo>
                      <a:pt x="772" y="485"/>
                    </a:lnTo>
                    <a:lnTo>
                      <a:pt x="761" y="480"/>
                    </a:lnTo>
                    <a:lnTo>
                      <a:pt x="739" y="491"/>
                    </a:lnTo>
                    <a:lnTo>
                      <a:pt x="723" y="513"/>
                    </a:lnTo>
                    <a:lnTo>
                      <a:pt x="706" y="535"/>
                    </a:lnTo>
                    <a:lnTo>
                      <a:pt x="690" y="535"/>
                    </a:lnTo>
                    <a:lnTo>
                      <a:pt x="668" y="518"/>
                    </a:lnTo>
                    <a:lnTo>
                      <a:pt x="662" y="485"/>
                    </a:lnTo>
                    <a:lnTo>
                      <a:pt x="668" y="463"/>
                    </a:lnTo>
                    <a:lnTo>
                      <a:pt x="657" y="424"/>
                    </a:lnTo>
                    <a:lnTo>
                      <a:pt x="640" y="408"/>
                    </a:lnTo>
                    <a:lnTo>
                      <a:pt x="640" y="391"/>
                    </a:lnTo>
                    <a:lnTo>
                      <a:pt x="657" y="386"/>
                    </a:lnTo>
                    <a:lnTo>
                      <a:pt x="673" y="364"/>
                    </a:lnTo>
                    <a:lnTo>
                      <a:pt x="673" y="353"/>
                    </a:lnTo>
                    <a:lnTo>
                      <a:pt x="662" y="342"/>
                    </a:lnTo>
                    <a:lnTo>
                      <a:pt x="662" y="325"/>
                    </a:lnTo>
                    <a:close/>
                  </a:path>
                </a:pathLst>
              </a:custGeom>
              <a:solidFill>
                <a:srgbClr val="083708"/>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0" name="Freeform 6">
                <a:extLst/>
              </p:cNvPr>
              <p:cNvSpPr>
                <a:spLocks noEditPoints="1"/>
              </p:cNvSpPr>
              <p:nvPr/>
            </p:nvSpPr>
            <p:spPr bwMode="auto">
              <a:xfrm>
                <a:off x="566738" y="4992688"/>
                <a:ext cx="2443163" cy="1812925"/>
              </a:xfrm>
              <a:custGeom>
                <a:avLst/>
                <a:gdLst>
                  <a:gd name="T0" fmla="*/ 214 w 279"/>
                  <a:gd name="T1" fmla="*/ 141 h 207"/>
                  <a:gd name="T2" fmla="*/ 230 w 279"/>
                  <a:gd name="T3" fmla="*/ 151 h 207"/>
                  <a:gd name="T4" fmla="*/ 244 w 279"/>
                  <a:gd name="T5" fmla="*/ 154 h 207"/>
                  <a:gd name="T6" fmla="*/ 263 w 279"/>
                  <a:gd name="T7" fmla="*/ 182 h 207"/>
                  <a:gd name="T8" fmla="*/ 275 w 279"/>
                  <a:gd name="T9" fmla="*/ 204 h 207"/>
                  <a:gd name="T10" fmla="*/ 266 w 279"/>
                  <a:gd name="T11" fmla="*/ 201 h 207"/>
                  <a:gd name="T12" fmla="*/ 262 w 279"/>
                  <a:gd name="T13" fmla="*/ 206 h 207"/>
                  <a:gd name="T14" fmla="*/ 252 w 279"/>
                  <a:gd name="T15" fmla="*/ 198 h 207"/>
                  <a:gd name="T16" fmla="*/ 248 w 279"/>
                  <a:gd name="T17" fmla="*/ 192 h 207"/>
                  <a:gd name="T18" fmla="*/ 244 w 279"/>
                  <a:gd name="T19" fmla="*/ 189 h 207"/>
                  <a:gd name="T20" fmla="*/ 231 w 279"/>
                  <a:gd name="T21" fmla="*/ 167 h 207"/>
                  <a:gd name="T22" fmla="*/ 215 w 279"/>
                  <a:gd name="T23" fmla="*/ 155 h 207"/>
                  <a:gd name="T24" fmla="*/ 200 w 279"/>
                  <a:gd name="T25" fmla="*/ 147 h 207"/>
                  <a:gd name="T26" fmla="*/ 170 w 279"/>
                  <a:gd name="T27" fmla="*/ 131 h 207"/>
                  <a:gd name="T28" fmla="*/ 162 w 279"/>
                  <a:gd name="T29" fmla="*/ 142 h 207"/>
                  <a:gd name="T30" fmla="*/ 158 w 279"/>
                  <a:gd name="T31" fmla="*/ 142 h 207"/>
                  <a:gd name="T32" fmla="*/ 135 w 279"/>
                  <a:gd name="T33" fmla="*/ 149 h 207"/>
                  <a:gd name="T34" fmla="*/ 140 w 279"/>
                  <a:gd name="T35" fmla="*/ 135 h 207"/>
                  <a:gd name="T36" fmla="*/ 150 w 279"/>
                  <a:gd name="T37" fmla="*/ 127 h 207"/>
                  <a:gd name="T38" fmla="*/ 125 w 279"/>
                  <a:gd name="T39" fmla="*/ 143 h 207"/>
                  <a:gd name="T40" fmla="*/ 113 w 279"/>
                  <a:gd name="T41" fmla="*/ 162 h 207"/>
                  <a:gd name="T42" fmla="*/ 86 w 279"/>
                  <a:gd name="T43" fmla="*/ 178 h 207"/>
                  <a:gd name="T44" fmla="*/ 75 w 279"/>
                  <a:gd name="T45" fmla="*/ 178 h 207"/>
                  <a:gd name="T46" fmla="*/ 51 w 279"/>
                  <a:gd name="T47" fmla="*/ 184 h 207"/>
                  <a:gd name="T48" fmla="*/ 36 w 279"/>
                  <a:gd name="T49" fmla="*/ 183 h 207"/>
                  <a:gd name="T50" fmla="*/ 61 w 279"/>
                  <a:gd name="T51" fmla="*/ 174 h 207"/>
                  <a:gd name="T52" fmla="*/ 78 w 279"/>
                  <a:gd name="T53" fmla="*/ 169 h 207"/>
                  <a:gd name="T54" fmla="*/ 93 w 279"/>
                  <a:gd name="T55" fmla="*/ 162 h 207"/>
                  <a:gd name="T56" fmla="*/ 95 w 279"/>
                  <a:gd name="T57" fmla="*/ 148 h 207"/>
                  <a:gd name="T58" fmla="*/ 87 w 279"/>
                  <a:gd name="T59" fmla="*/ 142 h 207"/>
                  <a:gd name="T60" fmla="*/ 71 w 279"/>
                  <a:gd name="T61" fmla="*/ 141 h 207"/>
                  <a:gd name="T62" fmla="*/ 76 w 279"/>
                  <a:gd name="T63" fmla="*/ 130 h 207"/>
                  <a:gd name="T64" fmla="*/ 62 w 279"/>
                  <a:gd name="T65" fmla="*/ 118 h 207"/>
                  <a:gd name="T66" fmla="*/ 63 w 279"/>
                  <a:gd name="T67" fmla="*/ 105 h 207"/>
                  <a:gd name="T68" fmla="*/ 73 w 279"/>
                  <a:gd name="T69" fmla="*/ 84 h 207"/>
                  <a:gd name="T70" fmla="*/ 90 w 279"/>
                  <a:gd name="T71" fmla="*/ 85 h 207"/>
                  <a:gd name="T72" fmla="*/ 101 w 279"/>
                  <a:gd name="T73" fmla="*/ 72 h 207"/>
                  <a:gd name="T74" fmla="*/ 77 w 279"/>
                  <a:gd name="T75" fmla="*/ 68 h 207"/>
                  <a:gd name="T76" fmla="*/ 69 w 279"/>
                  <a:gd name="T77" fmla="*/ 47 h 207"/>
                  <a:gd name="T78" fmla="*/ 88 w 279"/>
                  <a:gd name="T79" fmla="*/ 44 h 207"/>
                  <a:gd name="T80" fmla="*/ 101 w 279"/>
                  <a:gd name="T81" fmla="*/ 55 h 207"/>
                  <a:gd name="T82" fmla="*/ 96 w 279"/>
                  <a:gd name="T83" fmla="*/ 39 h 207"/>
                  <a:gd name="T84" fmla="*/ 96 w 279"/>
                  <a:gd name="T85" fmla="*/ 17 h 207"/>
                  <a:gd name="T86" fmla="*/ 118 w 279"/>
                  <a:gd name="T87" fmla="*/ 7 h 207"/>
                  <a:gd name="T88" fmla="*/ 139 w 279"/>
                  <a:gd name="T89" fmla="*/ 0 h 207"/>
                  <a:gd name="T90" fmla="*/ 150 w 279"/>
                  <a:gd name="T91" fmla="*/ 7 h 207"/>
                  <a:gd name="T92" fmla="*/ 178 w 279"/>
                  <a:gd name="T93" fmla="*/ 19 h 207"/>
                  <a:gd name="T94" fmla="*/ 49 w 279"/>
                  <a:gd name="T95" fmla="*/ 66 h 207"/>
                  <a:gd name="T96" fmla="*/ 40 w 279"/>
                  <a:gd name="T97" fmla="*/ 66 h 207"/>
                  <a:gd name="T98" fmla="*/ 46 w 279"/>
                  <a:gd name="T99" fmla="*/ 110 h 207"/>
                  <a:gd name="T100" fmla="*/ 46 w 279"/>
                  <a:gd name="T101" fmla="*/ 114 h 207"/>
                  <a:gd name="T102" fmla="*/ 17 w 279"/>
                  <a:gd name="T103" fmla="*/ 94 h 207"/>
                  <a:gd name="T104" fmla="*/ 12 w 279"/>
                  <a:gd name="T105" fmla="*/ 185 h 207"/>
                  <a:gd name="T106" fmla="*/ 25 w 279"/>
                  <a:gd name="T107" fmla="*/ 186 h 207"/>
                  <a:gd name="T108" fmla="*/ 1 w 279"/>
                  <a:gd name="T109" fmla="*/ 190 h 207"/>
                  <a:gd name="T110" fmla="*/ 65 w 279"/>
                  <a:gd name="T111" fmla="*/ 183 h 207"/>
                  <a:gd name="T112" fmla="*/ 101 w 279"/>
                  <a:gd name="T113" fmla="*/ 185 h 207"/>
                  <a:gd name="T114" fmla="*/ 114 w 279"/>
                  <a:gd name="T115" fmla="*/ 176 h 207"/>
                  <a:gd name="T116" fmla="*/ 126 w 279"/>
                  <a:gd name="T117" fmla="*/ 165 h 207"/>
                  <a:gd name="T118" fmla="*/ 129 w 279"/>
                  <a:gd name="T119" fmla="*/ 158 h 207"/>
                  <a:gd name="T120" fmla="*/ 169 w 279"/>
                  <a:gd name="T121" fmla="*/ 14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 h="207">
                    <a:moveTo>
                      <a:pt x="203" y="27"/>
                    </a:moveTo>
                    <a:cubicBezTo>
                      <a:pt x="202" y="141"/>
                      <a:pt x="202" y="141"/>
                      <a:pt x="202" y="141"/>
                    </a:cubicBezTo>
                    <a:cubicBezTo>
                      <a:pt x="204" y="142"/>
                      <a:pt x="204" y="142"/>
                      <a:pt x="204" y="142"/>
                    </a:cubicBezTo>
                    <a:cubicBezTo>
                      <a:pt x="209" y="143"/>
                      <a:pt x="209" y="143"/>
                      <a:pt x="209" y="143"/>
                    </a:cubicBezTo>
                    <a:cubicBezTo>
                      <a:pt x="211" y="141"/>
                      <a:pt x="211" y="141"/>
                      <a:pt x="211" y="141"/>
                    </a:cubicBezTo>
                    <a:cubicBezTo>
                      <a:pt x="214" y="141"/>
                      <a:pt x="214" y="141"/>
                      <a:pt x="214" y="141"/>
                    </a:cubicBezTo>
                    <a:cubicBezTo>
                      <a:pt x="214" y="145"/>
                      <a:pt x="214" y="145"/>
                      <a:pt x="214" y="145"/>
                    </a:cubicBezTo>
                    <a:cubicBezTo>
                      <a:pt x="223" y="154"/>
                      <a:pt x="223" y="154"/>
                      <a:pt x="223" y="154"/>
                    </a:cubicBezTo>
                    <a:cubicBezTo>
                      <a:pt x="224" y="157"/>
                      <a:pt x="224" y="157"/>
                      <a:pt x="224" y="157"/>
                    </a:cubicBezTo>
                    <a:cubicBezTo>
                      <a:pt x="229" y="155"/>
                      <a:pt x="229" y="155"/>
                      <a:pt x="229" y="155"/>
                    </a:cubicBezTo>
                    <a:cubicBezTo>
                      <a:pt x="229" y="155"/>
                      <a:pt x="229" y="155"/>
                      <a:pt x="229" y="155"/>
                    </a:cubicBezTo>
                    <a:cubicBezTo>
                      <a:pt x="230" y="151"/>
                      <a:pt x="230" y="151"/>
                      <a:pt x="230" y="151"/>
                    </a:cubicBezTo>
                    <a:cubicBezTo>
                      <a:pt x="232" y="148"/>
                      <a:pt x="232" y="148"/>
                      <a:pt x="232" y="148"/>
                    </a:cubicBezTo>
                    <a:cubicBezTo>
                      <a:pt x="233" y="148"/>
                      <a:pt x="233" y="148"/>
                      <a:pt x="233" y="148"/>
                    </a:cubicBezTo>
                    <a:cubicBezTo>
                      <a:pt x="236" y="146"/>
                      <a:pt x="236" y="146"/>
                      <a:pt x="236" y="146"/>
                    </a:cubicBezTo>
                    <a:cubicBezTo>
                      <a:pt x="240" y="149"/>
                      <a:pt x="240" y="149"/>
                      <a:pt x="240" y="149"/>
                    </a:cubicBezTo>
                    <a:cubicBezTo>
                      <a:pt x="241" y="153"/>
                      <a:pt x="241" y="153"/>
                      <a:pt x="241" y="153"/>
                    </a:cubicBezTo>
                    <a:cubicBezTo>
                      <a:pt x="244" y="154"/>
                      <a:pt x="244" y="154"/>
                      <a:pt x="244" y="154"/>
                    </a:cubicBezTo>
                    <a:cubicBezTo>
                      <a:pt x="245" y="158"/>
                      <a:pt x="245" y="158"/>
                      <a:pt x="245" y="158"/>
                    </a:cubicBezTo>
                    <a:cubicBezTo>
                      <a:pt x="250" y="160"/>
                      <a:pt x="250" y="160"/>
                      <a:pt x="250" y="160"/>
                    </a:cubicBezTo>
                    <a:cubicBezTo>
                      <a:pt x="255" y="168"/>
                      <a:pt x="255" y="168"/>
                      <a:pt x="255" y="168"/>
                    </a:cubicBezTo>
                    <a:cubicBezTo>
                      <a:pt x="258" y="173"/>
                      <a:pt x="258" y="173"/>
                      <a:pt x="258" y="173"/>
                    </a:cubicBezTo>
                    <a:cubicBezTo>
                      <a:pt x="261" y="177"/>
                      <a:pt x="261" y="177"/>
                      <a:pt x="261" y="177"/>
                    </a:cubicBezTo>
                    <a:cubicBezTo>
                      <a:pt x="263" y="182"/>
                      <a:pt x="263" y="182"/>
                      <a:pt x="263" y="182"/>
                    </a:cubicBezTo>
                    <a:cubicBezTo>
                      <a:pt x="270" y="184"/>
                      <a:pt x="270" y="184"/>
                      <a:pt x="270" y="184"/>
                    </a:cubicBezTo>
                    <a:cubicBezTo>
                      <a:pt x="277" y="187"/>
                      <a:pt x="277" y="187"/>
                      <a:pt x="277" y="187"/>
                    </a:cubicBezTo>
                    <a:cubicBezTo>
                      <a:pt x="278" y="193"/>
                      <a:pt x="278" y="193"/>
                      <a:pt x="278" y="193"/>
                    </a:cubicBezTo>
                    <a:cubicBezTo>
                      <a:pt x="279" y="197"/>
                      <a:pt x="279" y="197"/>
                      <a:pt x="279" y="197"/>
                    </a:cubicBezTo>
                    <a:cubicBezTo>
                      <a:pt x="278" y="201"/>
                      <a:pt x="278" y="201"/>
                      <a:pt x="278" y="201"/>
                    </a:cubicBezTo>
                    <a:cubicBezTo>
                      <a:pt x="275" y="204"/>
                      <a:pt x="275" y="204"/>
                      <a:pt x="275" y="204"/>
                    </a:cubicBezTo>
                    <a:cubicBezTo>
                      <a:pt x="273" y="203"/>
                      <a:pt x="273" y="203"/>
                      <a:pt x="273" y="203"/>
                    </a:cubicBezTo>
                    <a:cubicBezTo>
                      <a:pt x="271" y="199"/>
                      <a:pt x="271" y="199"/>
                      <a:pt x="271" y="199"/>
                    </a:cubicBezTo>
                    <a:cubicBezTo>
                      <a:pt x="267" y="197"/>
                      <a:pt x="267" y="197"/>
                      <a:pt x="267" y="197"/>
                    </a:cubicBezTo>
                    <a:cubicBezTo>
                      <a:pt x="265" y="196"/>
                      <a:pt x="265" y="196"/>
                      <a:pt x="265" y="196"/>
                    </a:cubicBezTo>
                    <a:cubicBezTo>
                      <a:pt x="264" y="197"/>
                      <a:pt x="264" y="197"/>
                      <a:pt x="264" y="197"/>
                    </a:cubicBezTo>
                    <a:cubicBezTo>
                      <a:pt x="266" y="201"/>
                      <a:pt x="266" y="201"/>
                      <a:pt x="266" y="201"/>
                    </a:cubicBezTo>
                    <a:cubicBezTo>
                      <a:pt x="266" y="205"/>
                      <a:pt x="266" y="205"/>
                      <a:pt x="266" y="205"/>
                    </a:cubicBezTo>
                    <a:cubicBezTo>
                      <a:pt x="265" y="206"/>
                      <a:pt x="265" y="206"/>
                      <a:pt x="265" y="206"/>
                    </a:cubicBezTo>
                    <a:cubicBezTo>
                      <a:pt x="262" y="204"/>
                      <a:pt x="262" y="204"/>
                      <a:pt x="262" y="204"/>
                    </a:cubicBezTo>
                    <a:cubicBezTo>
                      <a:pt x="259" y="202"/>
                      <a:pt x="259" y="202"/>
                      <a:pt x="259" y="202"/>
                    </a:cubicBezTo>
                    <a:cubicBezTo>
                      <a:pt x="260" y="204"/>
                      <a:pt x="260" y="204"/>
                      <a:pt x="260" y="204"/>
                    </a:cubicBezTo>
                    <a:cubicBezTo>
                      <a:pt x="262" y="206"/>
                      <a:pt x="262" y="206"/>
                      <a:pt x="262" y="206"/>
                    </a:cubicBezTo>
                    <a:cubicBezTo>
                      <a:pt x="261" y="207"/>
                      <a:pt x="261" y="207"/>
                      <a:pt x="261" y="207"/>
                    </a:cubicBezTo>
                    <a:cubicBezTo>
                      <a:pt x="261" y="207"/>
                      <a:pt x="259" y="207"/>
                      <a:pt x="259" y="206"/>
                    </a:cubicBezTo>
                    <a:cubicBezTo>
                      <a:pt x="258" y="205"/>
                      <a:pt x="256" y="202"/>
                      <a:pt x="256" y="202"/>
                    </a:cubicBezTo>
                    <a:cubicBezTo>
                      <a:pt x="255" y="199"/>
                      <a:pt x="255" y="199"/>
                      <a:pt x="255" y="199"/>
                    </a:cubicBezTo>
                    <a:cubicBezTo>
                      <a:pt x="255" y="199"/>
                      <a:pt x="254" y="200"/>
                      <a:pt x="253" y="200"/>
                    </a:cubicBezTo>
                    <a:cubicBezTo>
                      <a:pt x="253" y="199"/>
                      <a:pt x="252" y="198"/>
                      <a:pt x="252" y="198"/>
                    </a:cubicBezTo>
                    <a:cubicBezTo>
                      <a:pt x="254" y="195"/>
                      <a:pt x="254" y="195"/>
                      <a:pt x="254" y="195"/>
                    </a:cubicBezTo>
                    <a:cubicBezTo>
                      <a:pt x="252" y="193"/>
                      <a:pt x="252" y="193"/>
                      <a:pt x="252" y="193"/>
                    </a:cubicBezTo>
                    <a:cubicBezTo>
                      <a:pt x="252" y="187"/>
                      <a:pt x="252" y="187"/>
                      <a:pt x="252" y="187"/>
                    </a:cubicBezTo>
                    <a:cubicBezTo>
                      <a:pt x="251" y="187"/>
                      <a:pt x="251" y="187"/>
                      <a:pt x="251" y="187"/>
                    </a:cubicBezTo>
                    <a:cubicBezTo>
                      <a:pt x="250" y="191"/>
                      <a:pt x="250" y="191"/>
                      <a:pt x="250" y="191"/>
                    </a:cubicBezTo>
                    <a:cubicBezTo>
                      <a:pt x="248" y="192"/>
                      <a:pt x="248" y="192"/>
                      <a:pt x="248" y="192"/>
                    </a:cubicBezTo>
                    <a:cubicBezTo>
                      <a:pt x="247" y="187"/>
                      <a:pt x="247" y="187"/>
                      <a:pt x="247" y="187"/>
                    </a:cubicBezTo>
                    <a:cubicBezTo>
                      <a:pt x="246" y="182"/>
                      <a:pt x="246" y="182"/>
                      <a:pt x="246" y="182"/>
                    </a:cubicBezTo>
                    <a:cubicBezTo>
                      <a:pt x="245" y="181"/>
                      <a:pt x="245" y="181"/>
                      <a:pt x="245" y="181"/>
                    </a:cubicBezTo>
                    <a:cubicBezTo>
                      <a:pt x="246" y="189"/>
                      <a:pt x="246" y="189"/>
                      <a:pt x="246" y="189"/>
                    </a:cubicBezTo>
                    <a:cubicBezTo>
                      <a:pt x="246" y="190"/>
                      <a:pt x="246" y="190"/>
                      <a:pt x="246" y="190"/>
                    </a:cubicBezTo>
                    <a:cubicBezTo>
                      <a:pt x="244" y="189"/>
                      <a:pt x="244" y="189"/>
                      <a:pt x="244" y="189"/>
                    </a:cubicBezTo>
                    <a:cubicBezTo>
                      <a:pt x="239" y="181"/>
                      <a:pt x="239" y="181"/>
                      <a:pt x="239" y="181"/>
                    </a:cubicBezTo>
                    <a:cubicBezTo>
                      <a:pt x="236" y="180"/>
                      <a:pt x="236" y="180"/>
                      <a:pt x="236" y="180"/>
                    </a:cubicBezTo>
                    <a:cubicBezTo>
                      <a:pt x="235" y="175"/>
                      <a:pt x="235" y="175"/>
                      <a:pt x="235" y="175"/>
                    </a:cubicBezTo>
                    <a:cubicBezTo>
                      <a:pt x="233" y="171"/>
                      <a:pt x="233" y="171"/>
                      <a:pt x="233" y="171"/>
                    </a:cubicBezTo>
                    <a:cubicBezTo>
                      <a:pt x="231" y="170"/>
                      <a:pt x="231" y="170"/>
                      <a:pt x="231" y="170"/>
                    </a:cubicBezTo>
                    <a:cubicBezTo>
                      <a:pt x="231" y="167"/>
                      <a:pt x="231" y="167"/>
                      <a:pt x="231" y="167"/>
                    </a:cubicBezTo>
                    <a:cubicBezTo>
                      <a:pt x="234" y="165"/>
                      <a:pt x="234" y="165"/>
                      <a:pt x="234" y="165"/>
                    </a:cubicBezTo>
                    <a:cubicBezTo>
                      <a:pt x="233" y="165"/>
                      <a:pt x="233" y="165"/>
                      <a:pt x="233" y="165"/>
                    </a:cubicBezTo>
                    <a:cubicBezTo>
                      <a:pt x="230" y="165"/>
                      <a:pt x="230" y="165"/>
                      <a:pt x="230" y="165"/>
                    </a:cubicBezTo>
                    <a:cubicBezTo>
                      <a:pt x="225" y="162"/>
                      <a:pt x="225" y="162"/>
                      <a:pt x="225" y="162"/>
                    </a:cubicBezTo>
                    <a:cubicBezTo>
                      <a:pt x="222" y="158"/>
                      <a:pt x="222" y="158"/>
                      <a:pt x="222" y="158"/>
                    </a:cubicBezTo>
                    <a:cubicBezTo>
                      <a:pt x="215" y="155"/>
                      <a:pt x="215" y="155"/>
                      <a:pt x="215" y="155"/>
                    </a:cubicBezTo>
                    <a:cubicBezTo>
                      <a:pt x="210" y="151"/>
                      <a:pt x="210" y="151"/>
                      <a:pt x="210" y="151"/>
                    </a:cubicBezTo>
                    <a:cubicBezTo>
                      <a:pt x="212" y="147"/>
                      <a:pt x="212" y="147"/>
                      <a:pt x="212" y="147"/>
                    </a:cubicBezTo>
                    <a:cubicBezTo>
                      <a:pt x="212" y="145"/>
                      <a:pt x="212" y="145"/>
                      <a:pt x="212" y="145"/>
                    </a:cubicBezTo>
                    <a:cubicBezTo>
                      <a:pt x="209" y="147"/>
                      <a:pt x="209" y="147"/>
                      <a:pt x="209" y="147"/>
                    </a:cubicBezTo>
                    <a:cubicBezTo>
                      <a:pt x="205" y="149"/>
                      <a:pt x="205" y="149"/>
                      <a:pt x="205" y="149"/>
                    </a:cubicBezTo>
                    <a:cubicBezTo>
                      <a:pt x="200" y="147"/>
                      <a:pt x="200" y="147"/>
                      <a:pt x="200" y="147"/>
                    </a:cubicBezTo>
                    <a:cubicBezTo>
                      <a:pt x="193" y="144"/>
                      <a:pt x="193" y="144"/>
                      <a:pt x="193" y="144"/>
                    </a:cubicBezTo>
                    <a:cubicBezTo>
                      <a:pt x="186" y="144"/>
                      <a:pt x="186" y="144"/>
                      <a:pt x="186" y="144"/>
                    </a:cubicBezTo>
                    <a:cubicBezTo>
                      <a:pt x="185" y="144"/>
                      <a:pt x="185" y="144"/>
                      <a:pt x="185" y="144"/>
                    </a:cubicBezTo>
                    <a:cubicBezTo>
                      <a:pt x="176" y="139"/>
                      <a:pt x="176" y="139"/>
                      <a:pt x="176" y="139"/>
                    </a:cubicBezTo>
                    <a:cubicBezTo>
                      <a:pt x="173" y="139"/>
                      <a:pt x="173" y="139"/>
                      <a:pt x="173" y="139"/>
                    </a:cubicBezTo>
                    <a:cubicBezTo>
                      <a:pt x="170" y="131"/>
                      <a:pt x="170" y="131"/>
                      <a:pt x="170" y="131"/>
                    </a:cubicBezTo>
                    <a:cubicBezTo>
                      <a:pt x="165" y="132"/>
                      <a:pt x="165" y="132"/>
                      <a:pt x="165" y="132"/>
                    </a:cubicBezTo>
                    <a:cubicBezTo>
                      <a:pt x="160" y="133"/>
                      <a:pt x="160" y="133"/>
                      <a:pt x="160" y="133"/>
                    </a:cubicBezTo>
                    <a:cubicBezTo>
                      <a:pt x="161" y="140"/>
                      <a:pt x="161" y="140"/>
                      <a:pt x="161" y="140"/>
                    </a:cubicBezTo>
                    <a:cubicBezTo>
                      <a:pt x="162" y="136"/>
                      <a:pt x="162" y="136"/>
                      <a:pt x="162" y="136"/>
                    </a:cubicBezTo>
                    <a:cubicBezTo>
                      <a:pt x="164" y="136"/>
                      <a:pt x="164" y="136"/>
                      <a:pt x="164" y="136"/>
                    </a:cubicBezTo>
                    <a:cubicBezTo>
                      <a:pt x="162" y="142"/>
                      <a:pt x="162" y="142"/>
                      <a:pt x="162" y="142"/>
                    </a:cubicBezTo>
                    <a:cubicBezTo>
                      <a:pt x="166" y="138"/>
                      <a:pt x="166" y="138"/>
                      <a:pt x="166" y="138"/>
                    </a:cubicBezTo>
                    <a:cubicBezTo>
                      <a:pt x="167" y="140"/>
                      <a:pt x="167" y="140"/>
                      <a:pt x="167" y="140"/>
                    </a:cubicBezTo>
                    <a:cubicBezTo>
                      <a:pt x="162" y="146"/>
                      <a:pt x="162" y="146"/>
                      <a:pt x="162" y="146"/>
                    </a:cubicBezTo>
                    <a:cubicBezTo>
                      <a:pt x="160" y="146"/>
                      <a:pt x="160" y="146"/>
                      <a:pt x="160" y="146"/>
                    </a:cubicBezTo>
                    <a:cubicBezTo>
                      <a:pt x="159" y="143"/>
                      <a:pt x="159" y="143"/>
                      <a:pt x="159" y="143"/>
                    </a:cubicBezTo>
                    <a:cubicBezTo>
                      <a:pt x="158" y="142"/>
                      <a:pt x="158" y="142"/>
                      <a:pt x="158" y="142"/>
                    </a:cubicBezTo>
                    <a:cubicBezTo>
                      <a:pt x="156" y="144"/>
                      <a:pt x="156" y="144"/>
                      <a:pt x="156" y="144"/>
                    </a:cubicBezTo>
                    <a:cubicBezTo>
                      <a:pt x="152" y="141"/>
                      <a:pt x="152" y="141"/>
                      <a:pt x="152" y="141"/>
                    </a:cubicBezTo>
                    <a:cubicBezTo>
                      <a:pt x="148" y="144"/>
                      <a:pt x="148" y="144"/>
                      <a:pt x="148" y="144"/>
                    </a:cubicBezTo>
                    <a:cubicBezTo>
                      <a:pt x="146" y="147"/>
                      <a:pt x="146" y="147"/>
                      <a:pt x="146" y="147"/>
                    </a:cubicBezTo>
                    <a:cubicBezTo>
                      <a:pt x="141" y="150"/>
                      <a:pt x="141" y="150"/>
                      <a:pt x="141" y="150"/>
                    </a:cubicBezTo>
                    <a:cubicBezTo>
                      <a:pt x="135" y="149"/>
                      <a:pt x="135" y="149"/>
                      <a:pt x="135" y="149"/>
                    </a:cubicBezTo>
                    <a:cubicBezTo>
                      <a:pt x="134" y="147"/>
                      <a:pt x="134" y="147"/>
                      <a:pt x="134" y="147"/>
                    </a:cubicBezTo>
                    <a:cubicBezTo>
                      <a:pt x="139" y="146"/>
                      <a:pt x="139" y="146"/>
                      <a:pt x="139" y="146"/>
                    </a:cubicBezTo>
                    <a:cubicBezTo>
                      <a:pt x="139" y="144"/>
                      <a:pt x="139" y="144"/>
                      <a:pt x="139" y="144"/>
                    </a:cubicBezTo>
                    <a:cubicBezTo>
                      <a:pt x="136" y="143"/>
                      <a:pt x="136" y="143"/>
                      <a:pt x="136" y="143"/>
                    </a:cubicBezTo>
                    <a:cubicBezTo>
                      <a:pt x="137" y="140"/>
                      <a:pt x="137" y="140"/>
                      <a:pt x="137" y="140"/>
                    </a:cubicBezTo>
                    <a:cubicBezTo>
                      <a:pt x="140" y="135"/>
                      <a:pt x="140" y="135"/>
                      <a:pt x="140" y="135"/>
                    </a:cubicBezTo>
                    <a:cubicBezTo>
                      <a:pt x="140" y="132"/>
                      <a:pt x="140" y="132"/>
                      <a:pt x="140" y="132"/>
                    </a:cubicBezTo>
                    <a:cubicBezTo>
                      <a:pt x="141" y="131"/>
                      <a:pt x="141" y="131"/>
                      <a:pt x="141" y="131"/>
                    </a:cubicBezTo>
                    <a:cubicBezTo>
                      <a:pt x="147" y="128"/>
                      <a:pt x="147" y="128"/>
                      <a:pt x="147" y="128"/>
                    </a:cubicBezTo>
                    <a:cubicBezTo>
                      <a:pt x="148" y="130"/>
                      <a:pt x="148" y="130"/>
                      <a:pt x="148" y="130"/>
                    </a:cubicBezTo>
                    <a:cubicBezTo>
                      <a:pt x="151" y="130"/>
                      <a:pt x="151" y="130"/>
                      <a:pt x="151" y="130"/>
                    </a:cubicBezTo>
                    <a:cubicBezTo>
                      <a:pt x="150" y="127"/>
                      <a:pt x="150" y="127"/>
                      <a:pt x="150" y="127"/>
                    </a:cubicBezTo>
                    <a:cubicBezTo>
                      <a:pt x="145" y="126"/>
                      <a:pt x="145" y="126"/>
                      <a:pt x="145" y="126"/>
                    </a:cubicBezTo>
                    <a:cubicBezTo>
                      <a:pt x="138" y="130"/>
                      <a:pt x="138" y="130"/>
                      <a:pt x="138" y="130"/>
                    </a:cubicBezTo>
                    <a:cubicBezTo>
                      <a:pt x="135" y="134"/>
                      <a:pt x="135" y="134"/>
                      <a:pt x="135" y="134"/>
                    </a:cubicBezTo>
                    <a:cubicBezTo>
                      <a:pt x="133" y="138"/>
                      <a:pt x="133" y="138"/>
                      <a:pt x="133" y="138"/>
                    </a:cubicBezTo>
                    <a:cubicBezTo>
                      <a:pt x="131" y="141"/>
                      <a:pt x="131" y="141"/>
                      <a:pt x="131" y="141"/>
                    </a:cubicBezTo>
                    <a:cubicBezTo>
                      <a:pt x="125" y="143"/>
                      <a:pt x="125" y="143"/>
                      <a:pt x="125" y="143"/>
                    </a:cubicBezTo>
                    <a:cubicBezTo>
                      <a:pt x="121" y="146"/>
                      <a:pt x="121" y="146"/>
                      <a:pt x="121" y="146"/>
                    </a:cubicBezTo>
                    <a:cubicBezTo>
                      <a:pt x="121" y="148"/>
                      <a:pt x="121" y="148"/>
                      <a:pt x="121" y="148"/>
                    </a:cubicBezTo>
                    <a:cubicBezTo>
                      <a:pt x="124" y="150"/>
                      <a:pt x="124" y="150"/>
                      <a:pt x="124" y="150"/>
                    </a:cubicBezTo>
                    <a:cubicBezTo>
                      <a:pt x="125" y="152"/>
                      <a:pt x="125" y="152"/>
                      <a:pt x="125" y="152"/>
                    </a:cubicBezTo>
                    <a:cubicBezTo>
                      <a:pt x="121" y="157"/>
                      <a:pt x="121" y="157"/>
                      <a:pt x="121" y="157"/>
                    </a:cubicBezTo>
                    <a:cubicBezTo>
                      <a:pt x="113" y="162"/>
                      <a:pt x="113" y="162"/>
                      <a:pt x="113" y="162"/>
                    </a:cubicBezTo>
                    <a:cubicBezTo>
                      <a:pt x="102" y="168"/>
                      <a:pt x="102" y="168"/>
                      <a:pt x="102" y="168"/>
                    </a:cubicBezTo>
                    <a:cubicBezTo>
                      <a:pt x="100" y="169"/>
                      <a:pt x="100" y="169"/>
                      <a:pt x="100" y="169"/>
                    </a:cubicBezTo>
                    <a:cubicBezTo>
                      <a:pt x="92" y="171"/>
                      <a:pt x="92" y="171"/>
                      <a:pt x="92" y="171"/>
                    </a:cubicBezTo>
                    <a:cubicBezTo>
                      <a:pt x="85" y="174"/>
                      <a:pt x="85" y="174"/>
                      <a:pt x="85" y="174"/>
                    </a:cubicBezTo>
                    <a:cubicBezTo>
                      <a:pt x="88" y="176"/>
                      <a:pt x="88" y="176"/>
                      <a:pt x="88" y="176"/>
                    </a:cubicBezTo>
                    <a:cubicBezTo>
                      <a:pt x="86" y="178"/>
                      <a:pt x="86" y="178"/>
                      <a:pt x="86" y="178"/>
                    </a:cubicBezTo>
                    <a:cubicBezTo>
                      <a:pt x="85" y="179"/>
                      <a:pt x="85" y="179"/>
                      <a:pt x="85" y="179"/>
                    </a:cubicBezTo>
                    <a:cubicBezTo>
                      <a:pt x="81" y="178"/>
                      <a:pt x="81" y="178"/>
                      <a:pt x="81" y="178"/>
                    </a:cubicBezTo>
                    <a:cubicBezTo>
                      <a:pt x="77" y="178"/>
                      <a:pt x="77" y="178"/>
                      <a:pt x="77" y="178"/>
                    </a:cubicBezTo>
                    <a:cubicBezTo>
                      <a:pt x="76" y="181"/>
                      <a:pt x="76" y="181"/>
                      <a:pt x="76" y="181"/>
                    </a:cubicBezTo>
                    <a:cubicBezTo>
                      <a:pt x="75" y="181"/>
                      <a:pt x="75" y="181"/>
                      <a:pt x="75" y="181"/>
                    </a:cubicBezTo>
                    <a:cubicBezTo>
                      <a:pt x="75" y="178"/>
                      <a:pt x="75" y="178"/>
                      <a:pt x="75" y="178"/>
                    </a:cubicBezTo>
                    <a:cubicBezTo>
                      <a:pt x="70" y="180"/>
                      <a:pt x="70" y="180"/>
                      <a:pt x="70" y="180"/>
                    </a:cubicBezTo>
                    <a:cubicBezTo>
                      <a:pt x="67" y="181"/>
                      <a:pt x="67" y="181"/>
                      <a:pt x="67" y="181"/>
                    </a:cubicBezTo>
                    <a:cubicBezTo>
                      <a:pt x="62" y="179"/>
                      <a:pt x="62" y="179"/>
                      <a:pt x="62" y="179"/>
                    </a:cubicBezTo>
                    <a:cubicBezTo>
                      <a:pt x="58" y="182"/>
                      <a:pt x="58" y="182"/>
                      <a:pt x="58" y="182"/>
                    </a:cubicBezTo>
                    <a:cubicBezTo>
                      <a:pt x="54" y="182"/>
                      <a:pt x="54" y="182"/>
                      <a:pt x="54" y="182"/>
                    </a:cubicBezTo>
                    <a:cubicBezTo>
                      <a:pt x="51" y="184"/>
                      <a:pt x="51" y="184"/>
                      <a:pt x="51" y="184"/>
                    </a:cubicBezTo>
                    <a:cubicBezTo>
                      <a:pt x="49" y="185"/>
                      <a:pt x="49" y="185"/>
                      <a:pt x="49" y="185"/>
                    </a:cubicBezTo>
                    <a:cubicBezTo>
                      <a:pt x="46" y="184"/>
                      <a:pt x="46" y="184"/>
                      <a:pt x="46" y="184"/>
                    </a:cubicBezTo>
                    <a:cubicBezTo>
                      <a:pt x="43" y="183"/>
                      <a:pt x="43" y="183"/>
                      <a:pt x="43" y="183"/>
                    </a:cubicBezTo>
                    <a:cubicBezTo>
                      <a:pt x="40" y="184"/>
                      <a:pt x="40" y="184"/>
                      <a:pt x="40" y="184"/>
                    </a:cubicBezTo>
                    <a:cubicBezTo>
                      <a:pt x="38" y="185"/>
                      <a:pt x="38" y="185"/>
                      <a:pt x="38" y="185"/>
                    </a:cubicBezTo>
                    <a:cubicBezTo>
                      <a:pt x="36" y="183"/>
                      <a:pt x="36" y="183"/>
                      <a:pt x="36" y="183"/>
                    </a:cubicBezTo>
                    <a:cubicBezTo>
                      <a:pt x="36" y="181"/>
                      <a:pt x="36" y="181"/>
                      <a:pt x="36" y="181"/>
                    </a:cubicBezTo>
                    <a:cubicBezTo>
                      <a:pt x="40" y="179"/>
                      <a:pt x="40" y="179"/>
                      <a:pt x="40" y="179"/>
                    </a:cubicBezTo>
                    <a:cubicBezTo>
                      <a:pt x="49" y="180"/>
                      <a:pt x="49" y="180"/>
                      <a:pt x="49" y="180"/>
                    </a:cubicBezTo>
                    <a:cubicBezTo>
                      <a:pt x="54" y="178"/>
                      <a:pt x="54" y="178"/>
                      <a:pt x="54" y="178"/>
                    </a:cubicBezTo>
                    <a:cubicBezTo>
                      <a:pt x="57" y="175"/>
                      <a:pt x="57" y="175"/>
                      <a:pt x="57" y="175"/>
                    </a:cubicBezTo>
                    <a:cubicBezTo>
                      <a:pt x="61" y="174"/>
                      <a:pt x="61" y="174"/>
                      <a:pt x="61" y="174"/>
                    </a:cubicBezTo>
                    <a:cubicBezTo>
                      <a:pt x="64" y="173"/>
                      <a:pt x="64" y="173"/>
                      <a:pt x="64" y="173"/>
                    </a:cubicBezTo>
                    <a:cubicBezTo>
                      <a:pt x="67" y="173"/>
                      <a:pt x="67" y="173"/>
                      <a:pt x="67" y="173"/>
                    </a:cubicBezTo>
                    <a:cubicBezTo>
                      <a:pt x="69" y="175"/>
                      <a:pt x="69" y="175"/>
                      <a:pt x="69" y="175"/>
                    </a:cubicBezTo>
                    <a:cubicBezTo>
                      <a:pt x="71" y="174"/>
                      <a:pt x="71" y="174"/>
                      <a:pt x="71" y="174"/>
                    </a:cubicBezTo>
                    <a:cubicBezTo>
                      <a:pt x="74" y="171"/>
                      <a:pt x="74" y="171"/>
                      <a:pt x="74" y="171"/>
                    </a:cubicBezTo>
                    <a:cubicBezTo>
                      <a:pt x="78" y="169"/>
                      <a:pt x="78" y="169"/>
                      <a:pt x="78" y="169"/>
                    </a:cubicBezTo>
                    <a:cubicBezTo>
                      <a:pt x="82" y="169"/>
                      <a:pt x="82" y="169"/>
                      <a:pt x="82" y="169"/>
                    </a:cubicBezTo>
                    <a:cubicBezTo>
                      <a:pt x="84" y="168"/>
                      <a:pt x="84" y="168"/>
                      <a:pt x="84" y="168"/>
                    </a:cubicBezTo>
                    <a:cubicBezTo>
                      <a:pt x="85" y="169"/>
                      <a:pt x="85" y="169"/>
                      <a:pt x="85" y="169"/>
                    </a:cubicBezTo>
                    <a:cubicBezTo>
                      <a:pt x="86" y="169"/>
                      <a:pt x="86" y="169"/>
                      <a:pt x="86" y="169"/>
                    </a:cubicBezTo>
                    <a:cubicBezTo>
                      <a:pt x="88" y="164"/>
                      <a:pt x="88" y="164"/>
                      <a:pt x="88" y="164"/>
                    </a:cubicBezTo>
                    <a:cubicBezTo>
                      <a:pt x="93" y="162"/>
                      <a:pt x="93" y="162"/>
                      <a:pt x="93" y="162"/>
                    </a:cubicBezTo>
                    <a:cubicBezTo>
                      <a:pt x="96" y="157"/>
                      <a:pt x="96" y="157"/>
                      <a:pt x="96" y="157"/>
                    </a:cubicBezTo>
                    <a:cubicBezTo>
                      <a:pt x="99" y="151"/>
                      <a:pt x="99" y="151"/>
                      <a:pt x="99" y="151"/>
                    </a:cubicBezTo>
                    <a:cubicBezTo>
                      <a:pt x="101" y="149"/>
                      <a:pt x="101" y="149"/>
                      <a:pt x="101" y="149"/>
                    </a:cubicBezTo>
                    <a:cubicBezTo>
                      <a:pt x="101" y="146"/>
                      <a:pt x="101" y="146"/>
                      <a:pt x="101" y="146"/>
                    </a:cubicBezTo>
                    <a:cubicBezTo>
                      <a:pt x="99" y="147"/>
                      <a:pt x="99" y="147"/>
                      <a:pt x="99" y="147"/>
                    </a:cubicBezTo>
                    <a:cubicBezTo>
                      <a:pt x="95" y="148"/>
                      <a:pt x="95" y="148"/>
                      <a:pt x="95" y="148"/>
                    </a:cubicBezTo>
                    <a:cubicBezTo>
                      <a:pt x="94" y="145"/>
                      <a:pt x="94" y="145"/>
                      <a:pt x="94" y="145"/>
                    </a:cubicBezTo>
                    <a:cubicBezTo>
                      <a:pt x="92" y="144"/>
                      <a:pt x="92" y="144"/>
                      <a:pt x="92" y="144"/>
                    </a:cubicBezTo>
                    <a:cubicBezTo>
                      <a:pt x="91" y="146"/>
                      <a:pt x="91" y="146"/>
                      <a:pt x="91" y="146"/>
                    </a:cubicBezTo>
                    <a:cubicBezTo>
                      <a:pt x="90" y="150"/>
                      <a:pt x="90" y="150"/>
                      <a:pt x="90" y="150"/>
                    </a:cubicBezTo>
                    <a:cubicBezTo>
                      <a:pt x="89" y="149"/>
                      <a:pt x="89" y="149"/>
                      <a:pt x="89" y="149"/>
                    </a:cubicBezTo>
                    <a:cubicBezTo>
                      <a:pt x="87" y="142"/>
                      <a:pt x="87" y="142"/>
                      <a:pt x="87" y="142"/>
                    </a:cubicBezTo>
                    <a:cubicBezTo>
                      <a:pt x="85" y="143"/>
                      <a:pt x="85" y="143"/>
                      <a:pt x="85" y="143"/>
                    </a:cubicBezTo>
                    <a:cubicBezTo>
                      <a:pt x="83" y="143"/>
                      <a:pt x="83" y="143"/>
                      <a:pt x="83" y="143"/>
                    </a:cubicBezTo>
                    <a:cubicBezTo>
                      <a:pt x="83" y="140"/>
                      <a:pt x="83" y="140"/>
                      <a:pt x="83" y="140"/>
                    </a:cubicBezTo>
                    <a:cubicBezTo>
                      <a:pt x="78" y="140"/>
                      <a:pt x="78" y="140"/>
                      <a:pt x="78" y="140"/>
                    </a:cubicBezTo>
                    <a:cubicBezTo>
                      <a:pt x="75" y="142"/>
                      <a:pt x="75" y="142"/>
                      <a:pt x="75" y="142"/>
                    </a:cubicBezTo>
                    <a:cubicBezTo>
                      <a:pt x="71" y="141"/>
                      <a:pt x="71" y="141"/>
                      <a:pt x="71" y="141"/>
                    </a:cubicBezTo>
                    <a:cubicBezTo>
                      <a:pt x="73" y="140"/>
                      <a:pt x="73" y="140"/>
                      <a:pt x="73" y="140"/>
                    </a:cubicBezTo>
                    <a:cubicBezTo>
                      <a:pt x="74" y="136"/>
                      <a:pt x="74" y="136"/>
                      <a:pt x="74" y="136"/>
                    </a:cubicBezTo>
                    <a:cubicBezTo>
                      <a:pt x="73" y="133"/>
                      <a:pt x="73" y="133"/>
                      <a:pt x="73" y="133"/>
                    </a:cubicBezTo>
                    <a:cubicBezTo>
                      <a:pt x="75" y="132"/>
                      <a:pt x="75" y="132"/>
                      <a:pt x="75" y="132"/>
                    </a:cubicBezTo>
                    <a:cubicBezTo>
                      <a:pt x="77" y="132"/>
                      <a:pt x="77" y="132"/>
                      <a:pt x="77" y="132"/>
                    </a:cubicBezTo>
                    <a:cubicBezTo>
                      <a:pt x="76" y="130"/>
                      <a:pt x="76" y="130"/>
                      <a:pt x="76" y="130"/>
                    </a:cubicBezTo>
                    <a:cubicBezTo>
                      <a:pt x="76" y="124"/>
                      <a:pt x="76" y="124"/>
                      <a:pt x="76" y="124"/>
                    </a:cubicBezTo>
                    <a:cubicBezTo>
                      <a:pt x="75" y="123"/>
                      <a:pt x="75" y="123"/>
                      <a:pt x="75" y="123"/>
                    </a:cubicBezTo>
                    <a:cubicBezTo>
                      <a:pt x="73" y="124"/>
                      <a:pt x="73" y="124"/>
                      <a:pt x="73" y="124"/>
                    </a:cubicBezTo>
                    <a:cubicBezTo>
                      <a:pt x="65" y="124"/>
                      <a:pt x="65" y="124"/>
                      <a:pt x="65" y="124"/>
                    </a:cubicBezTo>
                    <a:cubicBezTo>
                      <a:pt x="63" y="123"/>
                      <a:pt x="63" y="123"/>
                      <a:pt x="63" y="123"/>
                    </a:cubicBezTo>
                    <a:cubicBezTo>
                      <a:pt x="62" y="118"/>
                      <a:pt x="62" y="118"/>
                      <a:pt x="62" y="118"/>
                    </a:cubicBezTo>
                    <a:cubicBezTo>
                      <a:pt x="60" y="113"/>
                      <a:pt x="60" y="113"/>
                      <a:pt x="60" y="113"/>
                    </a:cubicBezTo>
                    <a:cubicBezTo>
                      <a:pt x="60" y="112"/>
                      <a:pt x="60" y="112"/>
                      <a:pt x="60" y="112"/>
                    </a:cubicBezTo>
                    <a:cubicBezTo>
                      <a:pt x="62" y="110"/>
                      <a:pt x="62" y="110"/>
                      <a:pt x="62" y="110"/>
                    </a:cubicBezTo>
                    <a:cubicBezTo>
                      <a:pt x="63" y="108"/>
                      <a:pt x="63" y="108"/>
                      <a:pt x="63" y="108"/>
                    </a:cubicBezTo>
                    <a:cubicBezTo>
                      <a:pt x="64" y="106"/>
                      <a:pt x="64" y="106"/>
                      <a:pt x="64" y="106"/>
                    </a:cubicBezTo>
                    <a:cubicBezTo>
                      <a:pt x="63" y="105"/>
                      <a:pt x="63" y="105"/>
                      <a:pt x="63" y="105"/>
                    </a:cubicBezTo>
                    <a:cubicBezTo>
                      <a:pt x="61" y="106"/>
                      <a:pt x="61" y="106"/>
                      <a:pt x="61" y="106"/>
                    </a:cubicBezTo>
                    <a:cubicBezTo>
                      <a:pt x="60" y="102"/>
                      <a:pt x="60" y="102"/>
                      <a:pt x="60" y="102"/>
                    </a:cubicBezTo>
                    <a:cubicBezTo>
                      <a:pt x="61" y="96"/>
                      <a:pt x="61" y="96"/>
                      <a:pt x="61" y="96"/>
                    </a:cubicBezTo>
                    <a:cubicBezTo>
                      <a:pt x="67" y="91"/>
                      <a:pt x="67" y="91"/>
                      <a:pt x="67" y="91"/>
                    </a:cubicBezTo>
                    <a:cubicBezTo>
                      <a:pt x="71" y="89"/>
                      <a:pt x="71" y="89"/>
                      <a:pt x="71" y="89"/>
                    </a:cubicBezTo>
                    <a:cubicBezTo>
                      <a:pt x="73" y="84"/>
                      <a:pt x="73" y="84"/>
                      <a:pt x="73" y="84"/>
                    </a:cubicBezTo>
                    <a:cubicBezTo>
                      <a:pt x="77" y="83"/>
                      <a:pt x="77" y="83"/>
                      <a:pt x="77" y="83"/>
                    </a:cubicBezTo>
                    <a:cubicBezTo>
                      <a:pt x="80" y="84"/>
                      <a:pt x="80" y="84"/>
                      <a:pt x="80" y="84"/>
                    </a:cubicBezTo>
                    <a:cubicBezTo>
                      <a:pt x="81" y="87"/>
                      <a:pt x="81" y="87"/>
                      <a:pt x="81" y="87"/>
                    </a:cubicBezTo>
                    <a:cubicBezTo>
                      <a:pt x="84" y="87"/>
                      <a:pt x="84" y="87"/>
                      <a:pt x="84" y="87"/>
                    </a:cubicBezTo>
                    <a:cubicBezTo>
                      <a:pt x="88" y="84"/>
                      <a:pt x="88" y="84"/>
                      <a:pt x="88" y="84"/>
                    </a:cubicBezTo>
                    <a:cubicBezTo>
                      <a:pt x="90" y="85"/>
                      <a:pt x="90" y="85"/>
                      <a:pt x="90" y="85"/>
                    </a:cubicBezTo>
                    <a:cubicBezTo>
                      <a:pt x="92" y="85"/>
                      <a:pt x="92" y="85"/>
                      <a:pt x="92" y="85"/>
                    </a:cubicBezTo>
                    <a:cubicBezTo>
                      <a:pt x="94" y="85"/>
                      <a:pt x="94" y="85"/>
                      <a:pt x="94" y="85"/>
                    </a:cubicBezTo>
                    <a:cubicBezTo>
                      <a:pt x="97" y="84"/>
                      <a:pt x="97" y="84"/>
                      <a:pt x="97" y="84"/>
                    </a:cubicBezTo>
                    <a:cubicBezTo>
                      <a:pt x="98" y="78"/>
                      <a:pt x="98" y="78"/>
                      <a:pt x="98" y="78"/>
                    </a:cubicBezTo>
                    <a:cubicBezTo>
                      <a:pt x="98" y="78"/>
                      <a:pt x="98" y="74"/>
                      <a:pt x="99" y="73"/>
                    </a:cubicBezTo>
                    <a:cubicBezTo>
                      <a:pt x="100" y="73"/>
                      <a:pt x="101" y="72"/>
                      <a:pt x="101" y="72"/>
                    </a:cubicBezTo>
                    <a:cubicBezTo>
                      <a:pt x="99" y="69"/>
                      <a:pt x="99" y="69"/>
                      <a:pt x="99" y="69"/>
                    </a:cubicBezTo>
                    <a:cubicBezTo>
                      <a:pt x="96" y="71"/>
                      <a:pt x="96" y="71"/>
                      <a:pt x="96" y="71"/>
                    </a:cubicBezTo>
                    <a:cubicBezTo>
                      <a:pt x="91" y="72"/>
                      <a:pt x="91" y="72"/>
                      <a:pt x="91" y="72"/>
                    </a:cubicBezTo>
                    <a:cubicBezTo>
                      <a:pt x="89" y="71"/>
                      <a:pt x="89" y="71"/>
                      <a:pt x="89" y="71"/>
                    </a:cubicBezTo>
                    <a:cubicBezTo>
                      <a:pt x="84" y="69"/>
                      <a:pt x="84" y="69"/>
                      <a:pt x="84" y="69"/>
                    </a:cubicBezTo>
                    <a:cubicBezTo>
                      <a:pt x="77" y="68"/>
                      <a:pt x="77" y="68"/>
                      <a:pt x="77" y="68"/>
                    </a:cubicBezTo>
                    <a:cubicBezTo>
                      <a:pt x="73" y="63"/>
                      <a:pt x="73" y="63"/>
                      <a:pt x="73" y="63"/>
                    </a:cubicBezTo>
                    <a:cubicBezTo>
                      <a:pt x="73" y="58"/>
                      <a:pt x="73" y="58"/>
                      <a:pt x="73" y="58"/>
                    </a:cubicBezTo>
                    <a:cubicBezTo>
                      <a:pt x="74" y="55"/>
                      <a:pt x="74" y="55"/>
                      <a:pt x="74" y="55"/>
                    </a:cubicBezTo>
                    <a:cubicBezTo>
                      <a:pt x="71" y="53"/>
                      <a:pt x="71" y="53"/>
                      <a:pt x="71" y="53"/>
                    </a:cubicBezTo>
                    <a:cubicBezTo>
                      <a:pt x="69" y="48"/>
                      <a:pt x="69" y="48"/>
                      <a:pt x="69" y="48"/>
                    </a:cubicBezTo>
                    <a:cubicBezTo>
                      <a:pt x="69" y="47"/>
                      <a:pt x="69" y="47"/>
                      <a:pt x="69" y="47"/>
                    </a:cubicBezTo>
                    <a:cubicBezTo>
                      <a:pt x="78" y="46"/>
                      <a:pt x="78" y="46"/>
                      <a:pt x="78" y="46"/>
                    </a:cubicBezTo>
                    <a:cubicBezTo>
                      <a:pt x="81" y="46"/>
                      <a:pt x="81" y="46"/>
                      <a:pt x="81" y="46"/>
                    </a:cubicBezTo>
                    <a:cubicBezTo>
                      <a:pt x="82" y="47"/>
                      <a:pt x="82" y="47"/>
                      <a:pt x="82" y="47"/>
                    </a:cubicBezTo>
                    <a:cubicBezTo>
                      <a:pt x="83" y="47"/>
                      <a:pt x="83" y="47"/>
                      <a:pt x="83" y="47"/>
                    </a:cubicBezTo>
                    <a:cubicBezTo>
                      <a:pt x="83" y="45"/>
                      <a:pt x="83" y="45"/>
                      <a:pt x="83" y="45"/>
                    </a:cubicBezTo>
                    <a:cubicBezTo>
                      <a:pt x="88" y="44"/>
                      <a:pt x="88" y="44"/>
                      <a:pt x="88" y="44"/>
                    </a:cubicBezTo>
                    <a:cubicBezTo>
                      <a:pt x="92" y="45"/>
                      <a:pt x="92" y="45"/>
                      <a:pt x="92" y="45"/>
                    </a:cubicBezTo>
                    <a:cubicBezTo>
                      <a:pt x="94" y="46"/>
                      <a:pt x="94" y="46"/>
                      <a:pt x="94" y="46"/>
                    </a:cubicBezTo>
                    <a:cubicBezTo>
                      <a:pt x="92" y="49"/>
                      <a:pt x="92" y="49"/>
                      <a:pt x="92" y="49"/>
                    </a:cubicBezTo>
                    <a:cubicBezTo>
                      <a:pt x="91" y="51"/>
                      <a:pt x="91" y="51"/>
                      <a:pt x="91" y="51"/>
                    </a:cubicBezTo>
                    <a:cubicBezTo>
                      <a:pt x="95" y="53"/>
                      <a:pt x="95" y="53"/>
                      <a:pt x="95" y="53"/>
                    </a:cubicBezTo>
                    <a:cubicBezTo>
                      <a:pt x="101" y="55"/>
                      <a:pt x="101" y="55"/>
                      <a:pt x="101" y="55"/>
                    </a:cubicBezTo>
                    <a:cubicBezTo>
                      <a:pt x="104" y="54"/>
                      <a:pt x="104" y="54"/>
                      <a:pt x="104" y="54"/>
                    </a:cubicBezTo>
                    <a:cubicBezTo>
                      <a:pt x="101" y="48"/>
                      <a:pt x="101" y="48"/>
                      <a:pt x="101" y="48"/>
                    </a:cubicBezTo>
                    <a:cubicBezTo>
                      <a:pt x="100" y="44"/>
                      <a:pt x="100" y="44"/>
                      <a:pt x="100" y="44"/>
                    </a:cubicBezTo>
                    <a:cubicBezTo>
                      <a:pt x="101" y="43"/>
                      <a:pt x="101" y="43"/>
                      <a:pt x="101" y="43"/>
                    </a:cubicBezTo>
                    <a:cubicBezTo>
                      <a:pt x="96" y="40"/>
                      <a:pt x="96" y="40"/>
                      <a:pt x="96" y="40"/>
                    </a:cubicBezTo>
                    <a:cubicBezTo>
                      <a:pt x="96" y="39"/>
                      <a:pt x="96" y="39"/>
                      <a:pt x="96" y="39"/>
                    </a:cubicBezTo>
                    <a:cubicBezTo>
                      <a:pt x="96" y="37"/>
                      <a:pt x="96" y="37"/>
                      <a:pt x="96" y="37"/>
                    </a:cubicBezTo>
                    <a:cubicBezTo>
                      <a:pt x="95" y="32"/>
                      <a:pt x="95" y="32"/>
                      <a:pt x="95" y="32"/>
                    </a:cubicBezTo>
                    <a:cubicBezTo>
                      <a:pt x="91" y="25"/>
                      <a:pt x="91" y="25"/>
                      <a:pt x="91" y="25"/>
                    </a:cubicBezTo>
                    <a:cubicBezTo>
                      <a:pt x="88" y="20"/>
                      <a:pt x="88" y="20"/>
                      <a:pt x="88" y="20"/>
                    </a:cubicBezTo>
                    <a:cubicBezTo>
                      <a:pt x="92" y="17"/>
                      <a:pt x="92" y="17"/>
                      <a:pt x="92" y="17"/>
                    </a:cubicBezTo>
                    <a:cubicBezTo>
                      <a:pt x="96" y="17"/>
                      <a:pt x="96" y="17"/>
                      <a:pt x="96" y="17"/>
                    </a:cubicBezTo>
                    <a:cubicBezTo>
                      <a:pt x="99" y="18"/>
                      <a:pt x="99" y="18"/>
                      <a:pt x="99" y="18"/>
                    </a:cubicBezTo>
                    <a:cubicBezTo>
                      <a:pt x="104" y="18"/>
                      <a:pt x="104" y="18"/>
                      <a:pt x="104" y="18"/>
                    </a:cubicBezTo>
                    <a:cubicBezTo>
                      <a:pt x="109" y="13"/>
                      <a:pt x="109" y="13"/>
                      <a:pt x="109" y="13"/>
                    </a:cubicBezTo>
                    <a:cubicBezTo>
                      <a:pt x="111" y="9"/>
                      <a:pt x="111" y="9"/>
                      <a:pt x="111" y="9"/>
                    </a:cubicBezTo>
                    <a:cubicBezTo>
                      <a:pt x="116" y="6"/>
                      <a:pt x="116" y="6"/>
                      <a:pt x="116" y="6"/>
                    </a:cubicBezTo>
                    <a:cubicBezTo>
                      <a:pt x="118" y="7"/>
                      <a:pt x="118" y="7"/>
                      <a:pt x="118" y="7"/>
                    </a:cubicBezTo>
                    <a:cubicBezTo>
                      <a:pt x="122" y="6"/>
                      <a:pt x="122" y="6"/>
                      <a:pt x="122" y="6"/>
                    </a:cubicBezTo>
                    <a:cubicBezTo>
                      <a:pt x="126" y="3"/>
                      <a:pt x="126" y="3"/>
                      <a:pt x="126" y="3"/>
                    </a:cubicBezTo>
                    <a:cubicBezTo>
                      <a:pt x="128" y="3"/>
                      <a:pt x="128" y="3"/>
                      <a:pt x="128" y="3"/>
                    </a:cubicBezTo>
                    <a:cubicBezTo>
                      <a:pt x="129" y="4"/>
                      <a:pt x="129" y="4"/>
                      <a:pt x="129" y="4"/>
                    </a:cubicBezTo>
                    <a:cubicBezTo>
                      <a:pt x="135" y="4"/>
                      <a:pt x="135" y="4"/>
                      <a:pt x="135" y="4"/>
                    </a:cubicBezTo>
                    <a:cubicBezTo>
                      <a:pt x="139" y="0"/>
                      <a:pt x="139" y="0"/>
                      <a:pt x="139" y="0"/>
                    </a:cubicBezTo>
                    <a:cubicBezTo>
                      <a:pt x="140" y="0"/>
                      <a:pt x="140" y="0"/>
                      <a:pt x="140" y="0"/>
                    </a:cubicBezTo>
                    <a:cubicBezTo>
                      <a:pt x="145" y="3"/>
                      <a:pt x="145" y="3"/>
                      <a:pt x="145" y="3"/>
                    </a:cubicBezTo>
                    <a:cubicBezTo>
                      <a:pt x="148" y="6"/>
                      <a:pt x="148" y="6"/>
                      <a:pt x="148" y="6"/>
                    </a:cubicBezTo>
                    <a:cubicBezTo>
                      <a:pt x="147" y="7"/>
                      <a:pt x="147" y="7"/>
                      <a:pt x="147" y="7"/>
                    </a:cubicBezTo>
                    <a:cubicBezTo>
                      <a:pt x="148" y="9"/>
                      <a:pt x="148" y="9"/>
                      <a:pt x="148" y="9"/>
                    </a:cubicBezTo>
                    <a:cubicBezTo>
                      <a:pt x="150" y="7"/>
                      <a:pt x="150" y="7"/>
                      <a:pt x="150" y="7"/>
                    </a:cubicBezTo>
                    <a:cubicBezTo>
                      <a:pt x="155" y="7"/>
                      <a:pt x="155" y="7"/>
                      <a:pt x="155" y="7"/>
                    </a:cubicBezTo>
                    <a:cubicBezTo>
                      <a:pt x="156" y="12"/>
                      <a:pt x="156" y="12"/>
                      <a:pt x="156" y="12"/>
                    </a:cubicBezTo>
                    <a:cubicBezTo>
                      <a:pt x="158" y="14"/>
                      <a:pt x="158" y="14"/>
                      <a:pt x="158" y="14"/>
                    </a:cubicBezTo>
                    <a:cubicBezTo>
                      <a:pt x="168" y="15"/>
                      <a:pt x="168" y="15"/>
                      <a:pt x="168" y="15"/>
                    </a:cubicBezTo>
                    <a:cubicBezTo>
                      <a:pt x="176" y="21"/>
                      <a:pt x="176" y="21"/>
                      <a:pt x="176" y="21"/>
                    </a:cubicBezTo>
                    <a:cubicBezTo>
                      <a:pt x="178" y="19"/>
                      <a:pt x="178" y="19"/>
                      <a:pt x="178" y="19"/>
                    </a:cubicBezTo>
                    <a:cubicBezTo>
                      <a:pt x="185" y="23"/>
                      <a:pt x="185" y="23"/>
                      <a:pt x="185" y="23"/>
                    </a:cubicBezTo>
                    <a:cubicBezTo>
                      <a:pt x="188" y="22"/>
                      <a:pt x="188" y="22"/>
                      <a:pt x="188" y="22"/>
                    </a:cubicBezTo>
                    <a:cubicBezTo>
                      <a:pt x="190" y="21"/>
                      <a:pt x="190" y="21"/>
                      <a:pt x="190" y="21"/>
                    </a:cubicBezTo>
                    <a:cubicBezTo>
                      <a:pt x="197" y="23"/>
                      <a:pt x="197" y="23"/>
                      <a:pt x="197" y="23"/>
                    </a:cubicBezTo>
                    <a:lnTo>
                      <a:pt x="203" y="27"/>
                    </a:lnTo>
                    <a:close/>
                    <a:moveTo>
                      <a:pt x="49" y="66"/>
                    </a:moveTo>
                    <a:cubicBezTo>
                      <a:pt x="52" y="73"/>
                      <a:pt x="52" y="73"/>
                      <a:pt x="52" y="73"/>
                    </a:cubicBezTo>
                    <a:cubicBezTo>
                      <a:pt x="52" y="74"/>
                      <a:pt x="52" y="74"/>
                      <a:pt x="52" y="74"/>
                    </a:cubicBezTo>
                    <a:cubicBezTo>
                      <a:pt x="48" y="74"/>
                      <a:pt x="48" y="74"/>
                      <a:pt x="48" y="74"/>
                    </a:cubicBezTo>
                    <a:cubicBezTo>
                      <a:pt x="46" y="68"/>
                      <a:pt x="46" y="68"/>
                      <a:pt x="46" y="68"/>
                    </a:cubicBezTo>
                    <a:cubicBezTo>
                      <a:pt x="43" y="66"/>
                      <a:pt x="43" y="66"/>
                      <a:pt x="43" y="66"/>
                    </a:cubicBezTo>
                    <a:cubicBezTo>
                      <a:pt x="40" y="66"/>
                      <a:pt x="40" y="66"/>
                      <a:pt x="40" y="66"/>
                    </a:cubicBezTo>
                    <a:cubicBezTo>
                      <a:pt x="40" y="63"/>
                      <a:pt x="40" y="63"/>
                      <a:pt x="40" y="63"/>
                    </a:cubicBezTo>
                    <a:cubicBezTo>
                      <a:pt x="42" y="60"/>
                      <a:pt x="42" y="60"/>
                      <a:pt x="42" y="60"/>
                    </a:cubicBezTo>
                    <a:cubicBezTo>
                      <a:pt x="44" y="63"/>
                      <a:pt x="44" y="63"/>
                      <a:pt x="44" y="63"/>
                    </a:cubicBezTo>
                    <a:cubicBezTo>
                      <a:pt x="46" y="65"/>
                      <a:pt x="46" y="65"/>
                      <a:pt x="46" y="65"/>
                    </a:cubicBezTo>
                    <a:lnTo>
                      <a:pt x="49" y="66"/>
                    </a:lnTo>
                    <a:close/>
                    <a:moveTo>
                      <a:pt x="46" y="110"/>
                    </a:moveTo>
                    <a:cubicBezTo>
                      <a:pt x="51" y="112"/>
                      <a:pt x="51" y="112"/>
                      <a:pt x="51" y="112"/>
                    </a:cubicBezTo>
                    <a:cubicBezTo>
                      <a:pt x="56" y="113"/>
                      <a:pt x="56" y="113"/>
                      <a:pt x="56" y="113"/>
                    </a:cubicBezTo>
                    <a:cubicBezTo>
                      <a:pt x="57" y="114"/>
                      <a:pt x="57" y="114"/>
                      <a:pt x="57" y="114"/>
                    </a:cubicBezTo>
                    <a:cubicBezTo>
                      <a:pt x="55" y="119"/>
                      <a:pt x="55" y="119"/>
                      <a:pt x="55" y="119"/>
                    </a:cubicBezTo>
                    <a:cubicBezTo>
                      <a:pt x="51" y="119"/>
                      <a:pt x="51" y="119"/>
                      <a:pt x="51" y="119"/>
                    </a:cubicBezTo>
                    <a:cubicBezTo>
                      <a:pt x="46" y="114"/>
                      <a:pt x="46" y="114"/>
                      <a:pt x="46" y="114"/>
                    </a:cubicBezTo>
                    <a:lnTo>
                      <a:pt x="46" y="110"/>
                    </a:lnTo>
                    <a:close/>
                    <a:moveTo>
                      <a:pt x="18" y="92"/>
                    </a:moveTo>
                    <a:cubicBezTo>
                      <a:pt x="20" y="95"/>
                      <a:pt x="20" y="95"/>
                      <a:pt x="20" y="95"/>
                    </a:cubicBezTo>
                    <a:cubicBezTo>
                      <a:pt x="21" y="97"/>
                      <a:pt x="21" y="97"/>
                      <a:pt x="21" y="97"/>
                    </a:cubicBezTo>
                    <a:cubicBezTo>
                      <a:pt x="20" y="98"/>
                      <a:pt x="20" y="98"/>
                      <a:pt x="20" y="98"/>
                    </a:cubicBezTo>
                    <a:cubicBezTo>
                      <a:pt x="17" y="94"/>
                      <a:pt x="17" y="94"/>
                      <a:pt x="17" y="94"/>
                    </a:cubicBezTo>
                    <a:cubicBezTo>
                      <a:pt x="17" y="92"/>
                      <a:pt x="17" y="92"/>
                      <a:pt x="17" y="92"/>
                    </a:cubicBezTo>
                    <a:lnTo>
                      <a:pt x="18" y="92"/>
                    </a:lnTo>
                    <a:close/>
                    <a:moveTo>
                      <a:pt x="0" y="189"/>
                    </a:moveTo>
                    <a:cubicBezTo>
                      <a:pt x="4" y="186"/>
                      <a:pt x="4" y="186"/>
                      <a:pt x="4" y="186"/>
                    </a:cubicBezTo>
                    <a:cubicBezTo>
                      <a:pt x="9" y="185"/>
                      <a:pt x="9" y="185"/>
                      <a:pt x="9" y="185"/>
                    </a:cubicBezTo>
                    <a:cubicBezTo>
                      <a:pt x="12" y="185"/>
                      <a:pt x="12" y="185"/>
                      <a:pt x="12" y="185"/>
                    </a:cubicBezTo>
                    <a:cubicBezTo>
                      <a:pt x="13" y="187"/>
                      <a:pt x="13" y="187"/>
                      <a:pt x="13" y="187"/>
                    </a:cubicBezTo>
                    <a:cubicBezTo>
                      <a:pt x="16" y="188"/>
                      <a:pt x="16" y="188"/>
                      <a:pt x="16" y="188"/>
                    </a:cubicBezTo>
                    <a:cubicBezTo>
                      <a:pt x="18" y="185"/>
                      <a:pt x="18" y="185"/>
                      <a:pt x="18" y="185"/>
                    </a:cubicBezTo>
                    <a:cubicBezTo>
                      <a:pt x="18" y="183"/>
                      <a:pt x="18" y="183"/>
                      <a:pt x="18" y="183"/>
                    </a:cubicBezTo>
                    <a:cubicBezTo>
                      <a:pt x="21" y="182"/>
                      <a:pt x="21" y="182"/>
                      <a:pt x="21" y="182"/>
                    </a:cubicBezTo>
                    <a:cubicBezTo>
                      <a:pt x="25" y="186"/>
                      <a:pt x="25" y="186"/>
                      <a:pt x="25" y="186"/>
                    </a:cubicBezTo>
                    <a:cubicBezTo>
                      <a:pt x="24" y="188"/>
                      <a:pt x="24" y="188"/>
                      <a:pt x="24" y="188"/>
                    </a:cubicBezTo>
                    <a:cubicBezTo>
                      <a:pt x="18" y="190"/>
                      <a:pt x="18" y="190"/>
                      <a:pt x="18" y="190"/>
                    </a:cubicBezTo>
                    <a:cubicBezTo>
                      <a:pt x="14" y="189"/>
                      <a:pt x="14" y="189"/>
                      <a:pt x="14" y="189"/>
                    </a:cubicBezTo>
                    <a:cubicBezTo>
                      <a:pt x="9" y="188"/>
                      <a:pt x="9" y="188"/>
                      <a:pt x="9" y="188"/>
                    </a:cubicBezTo>
                    <a:cubicBezTo>
                      <a:pt x="4" y="190"/>
                      <a:pt x="4" y="190"/>
                      <a:pt x="4" y="190"/>
                    </a:cubicBezTo>
                    <a:cubicBezTo>
                      <a:pt x="1" y="190"/>
                      <a:pt x="1" y="190"/>
                      <a:pt x="1" y="190"/>
                    </a:cubicBezTo>
                    <a:lnTo>
                      <a:pt x="0" y="189"/>
                    </a:lnTo>
                    <a:close/>
                    <a:moveTo>
                      <a:pt x="65" y="183"/>
                    </a:moveTo>
                    <a:cubicBezTo>
                      <a:pt x="67" y="186"/>
                      <a:pt x="67" y="186"/>
                      <a:pt x="67" y="186"/>
                    </a:cubicBezTo>
                    <a:cubicBezTo>
                      <a:pt x="70" y="184"/>
                      <a:pt x="70" y="184"/>
                      <a:pt x="70" y="184"/>
                    </a:cubicBezTo>
                    <a:cubicBezTo>
                      <a:pt x="68" y="182"/>
                      <a:pt x="68" y="182"/>
                      <a:pt x="68" y="182"/>
                    </a:cubicBezTo>
                    <a:lnTo>
                      <a:pt x="65" y="183"/>
                    </a:lnTo>
                    <a:close/>
                    <a:moveTo>
                      <a:pt x="69" y="187"/>
                    </a:moveTo>
                    <a:cubicBezTo>
                      <a:pt x="71" y="184"/>
                      <a:pt x="71" y="184"/>
                      <a:pt x="71" y="184"/>
                    </a:cubicBezTo>
                    <a:cubicBezTo>
                      <a:pt x="73" y="185"/>
                      <a:pt x="73" y="185"/>
                      <a:pt x="73" y="185"/>
                    </a:cubicBezTo>
                    <a:cubicBezTo>
                      <a:pt x="72" y="187"/>
                      <a:pt x="72" y="187"/>
                      <a:pt x="72" y="187"/>
                    </a:cubicBezTo>
                    <a:lnTo>
                      <a:pt x="69" y="187"/>
                    </a:lnTo>
                    <a:close/>
                    <a:moveTo>
                      <a:pt x="101" y="185"/>
                    </a:moveTo>
                    <a:cubicBezTo>
                      <a:pt x="103" y="187"/>
                      <a:pt x="103" y="187"/>
                      <a:pt x="103" y="187"/>
                    </a:cubicBezTo>
                    <a:cubicBezTo>
                      <a:pt x="104" y="185"/>
                      <a:pt x="104" y="185"/>
                      <a:pt x="104" y="185"/>
                    </a:cubicBezTo>
                    <a:cubicBezTo>
                      <a:pt x="103" y="183"/>
                      <a:pt x="103" y="183"/>
                      <a:pt x="103" y="183"/>
                    </a:cubicBezTo>
                    <a:lnTo>
                      <a:pt x="101" y="185"/>
                    </a:lnTo>
                    <a:close/>
                    <a:moveTo>
                      <a:pt x="112" y="168"/>
                    </a:moveTo>
                    <a:cubicBezTo>
                      <a:pt x="114" y="176"/>
                      <a:pt x="114" y="176"/>
                      <a:pt x="114" y="176"/>
                    </a:cubicBezTo>
                    <a:cubicBezTo>
                      <a:pt x="118" y="177"/>
                      <a:pt x="118" y="177"/>
                      <a:pt x="118" y="177"/>
                    </a:cubicBezTo>
                    <a:cubicBezTo>
                      <a:pt x="124" y="173"/>
                      <a:pt x="124" y="173"/>
                      <a:pt x="124" y="173"/>
                    </a:cubicBezTo>
                    <a:cubicBezTo>
                      <a:pt x="130" y="169"/>
                      <a:pt x="130" y="169"/>
                      <a:pt x="130" y="169"/>
                    </a:cubicBezTo>
                    <a:cubicBezTo>
                      <a:pt x="128" y="166"/>
                      <a:pt x="128" y="166"/>
                      <a:pt x="128" y="166"/>
                    </a:cubicBezTo>
                    <a:cubicBezTo>
                      <a:pt x="129" y="163"/>
                      <a:pt x="129" y="163"/>
                      <a:pt x="129" y="163"/>
                    </a:cubicBezTo>
                    <a:cubicBezTo>
                      <a:pt x="126" y="165"/>
                      <a:pt x="126" y="165"/>
                      <a:pt x="126" y="165"/>
                    </a:cubicBezTo>
                    <a:cubicBezTo>
                      <a:pt x="122" y="164"/>
                      <a:pt x="122" y="164"/>
                      <a:pt x="122" y="164"/>
                    </a:cubicBezTo>
                    <a:cubicBezTo>
                      <a:pt x="124" y="162"/>
                      <a:pt x="124" y="162"/>
                      <a:pt x="124" y="162"/>
                    </a:cubicBezTo>
                    <a:cubicBezTo>
                      <a:pt x="127" y="163"/>
                      <a:pt x="127" y="163"/>
                      <a:pt x="127" y="163"/>
                    </a:cubicBezTo>
                    <a:cubicBezTo>
                      <a:pt x="132" y="161"/>
                      <a:pt x="132" y="161"/>
                      <a:pt x="132" y="161"/>
                    </a:cubicBezTo>
                    <a:cubicBezTo>
                      <a:pt x="133" y="159"/>
                      <a:pt x="133" y="159"/>
                      <a:pt x="133" y="159"/>
                    </a:cubicBezTo>
                    <a:cubicBezTo>
                      <a:pt x="129" y="158"/>
                      <a:pt x="129" y="158"/>
                      <a:pt x="129" y="158"/>
                    </a:cubicBezTo>
                    <a:cubicBezTo>
                      <a:pt x="130" y="155"/>
                      <a:pt x="130" y="155"/>
                      <a:pt x="130" y="155"/>
                    </a:cubicBezTo>
                    <a:cubicBezTo>
                      <a:pt x="127" y="158"/>
                      <a:pt x="127" y="158"/>
                      <a:pt x="127" y="158"/>
                    </a:cubicBezTo>
                    <a:cubicBezTo>
                      <a:pt x="120" y="163"/>
                      <a:pt x="120" y="163"/>
                      <a:pt x="120" y="163"/>
                    </a:cubicBezTo>
                    <a:cubicBezTo>
                      <a:pt x="114" y="166"/>
                      <a:pt x="114" y="166"/>
                      <a:pt x="114" y="166"/>
                    </a:cubicBezTo>
                    <a:lnTo>
                      <a:pt x="112" y="168"/>
                    </a:lnTo>
                    <a:close/>
                    <a:moveTo>
                      <a:pt x="169" y="141"/>
                    </a:moveTo>
                    <a:cubicBezTo>
                      <a:pt x="172" y="140"/>
                      <a:pt x="172" y="140"/>
                      <a:pt x="172" y="140"/>
                    </a:cubicBezTo>
                    <a:cubicBezTo>
                      <a:pt x="171" y="137"/>
                      <a:pt x="171" y="137"/>
                      <a:pt x="171" y="137"/>
                    </a:cubicBezTo>
                    <a:cubicBezTo>
                      <a:pt x="168" y="138"/>
                      <a:pt x="168" y="138"/>
                      <a:pt x="168" y="138"/>
                    </a:cubicBezTo>
                    <a:lnTo>
                      <a:pt x="169" y="141"/>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1" name="Freeform 7">
                <a:extLst/>
              </p:cNvPr>
              <p:cNvSpPr>
                <a:spLocks noEditPoints="1"/>
              </p:cNvSpPr>
              <p:nvPr/>
            </p:nvSpPr>
            <p:spPr bwMode="auto">
              <a:xfrm>
                <a:off x="7956551" y="5124450"/>
                <a:ext cx="1855788" cy="1566863"/>
              </a:xfrm>
              <a:custGeom>
                <a:avLst/>
                <a:gdLst>
                  <a:gd name="T0" fmla="*/ 899 w 1169"/>
                  <a:gd name="T1" fmla="*/ 132 h 987"/>
                  <a:gd name="T2" fmla="*/ 1004 w 1169"/>
                  <a:gd name="T3" fmla="*/ 287 h 987"/>
                  <a:gd name="T4" fmla="*/ 1037 w 1169"/>
                  <a:gd name="T5" fmla="*/ 347 h 987"/>
                  <a:gd name="T6" fmla="*/ 1070 w 1169"/>
                  <a:gd name="T7" fmla="*/ 430 h 987"/>
                  <a:gd name="T8" fmla="*/ 1152 w 1169"/>
                  <a:gd name="T9" fmla="*/ 573 h 987"/>
                  <a:gd name="T10" fmla="*/ 1169 w 1169"/>
                  <a:gd name="T11" fmla="*/ 733 h 987"/>
                  <a:gd name="T12" fmla="*/ 1152 w 1169"/>
                  <a:gd name="T13" fmla="*/ 783 h 987"/>
                  <a:gd name="T14" fmla="*/ 1152 w 1169"/>
                  <a:gd name="T15" fmla="*/ 827 h 987"/>
                  <a:gd name="T16" fmla="*/ 1081 w 1169"/>
                  <a:gd name="T17" fmla="*/ 860 h 987"/>
                  <a:gd name="T18" fmla="*/ 1042 w 1169"/>
                  <a:gd name="T19" fmla="*/ 877 h 987"/>
                  <a:gd name="T20" fmla="*/ 1026 w 1169"/>
                  <a:gd name="T21" fmla="*/ 827 h 987"/>
                  <a:gd name="T22" fmla="*/ 948 w 1169"/>
                  <a:gd name="T23" fmla="*/ 767 h 987"/>
                  <a:gd name="T24" fmla="*/ 915 w 1169"/>
                  <a:gd name="T25" fmla="*/ 717 h 987"/>
                  <a:gd name="T26" fmla="*/ 871 w 1169"/>
                  <a:gd name="T27" fmla="*/ 695 h 987"/>
                  <a:gd name="T28" fmla="*/ 822 w 1169"/>
                  <a:gd name="T29" fmla="*/ 629 h 987"/>
                  <a:gd name="T30" fmla="*/ 750 w 1169"/>
                  <a:gd name="T31" fmla="*/ 540 h 987"/>
                  <a:gd name="T32" fmla="*/ 788 w 1169"/>
                  <a:gd name="T33" fmla="*/ 469 h 987"/>
                  <a:gd name="T34" fmla="*/ 750 w 1169"/>
                  <a:gd name="T35" fmla="*/ 474 h 987"/>
                  <a:gd name="T36" fmla="*/ 750 w 1169"/>
                  <a:gd name="T37" fmla="*/ 513 h 987"/>
                  <a:gd name="T38" fmla="*/ 728 w 1169"/>
                  <a:gd name="T39" fmla="*/ 430 h 987"/>
                  <a:gd name="T40" fmla="*/ 711 w 1169"/>
                  <a:gd name="T41" fmla="*/ 298 h 987"/>
                  <a:gd name="T42" fmla="*/ 651 w 1169"/>
                  <a:gd name="T43" fmla="*/ 259 h 987"/>
                  <a:gd name="T44" fmla="*/ 606 w 1169"/>
                  <a:gd name="T45" fmla="*/ 204 h 987"/>
                  <a:gd name="T46" fmla="*/ 535 w 1169"/>
                  <a:gd name="T47" fmla="*/ 160 h 987"/>
                  <a:gd name="T48" fmla="*/ 469 w 1169"/>
                  <a:gd name="T49" fmla="*/ 154 h 987"/>
                  <a:gd name="T50" fmla="*/ 469 w 1169"/>
                  <a:gd name="T51" fmla="*/ 187 h 987"/>
                  <a:gd name="T52" fmla="*/ 391 w 1169"/>
                  <a:gd name="T53" fmla="*/ 226 h 987"/>
                  <a:gd name="T54" fmla="*/ 336 w 1169"/>
                  <a:gd name="T55" fmla="*/ 215 h 987"/>
                  <a:gd name="T56" fmla="*/ 292 w 1169"/>
                  <a:gd name="T57" fmla="*/ 182 h 987"/>
                  <a:gd name="T58" fmla="*/ 143 w 1169"/>
                  <a:gd name="T59" fmla="*/ 143 h 987"/>
                  <a:gd name="T60" fmla="*/ 33 w 1169"/>
                  <a:gd name="T61" fmla="*/ 165 h 987"/>
                  <a:gd name="T62" fmla="*/ 0 w 1169"/>
                  <a:gd name="T63" fmla="*/ 82 h 987"/>
                  <a:gd name="T64" fmla="*/ 265 w 1169"/>
                  <a:gd name="T65" fmla="*/ 27 h 987"/>
                  <a:gd name="T66" fmla="*/ 369 w 1169"/>
                  <a:gd name="T67" fmla="*/ 55 h 987"/>
                  <a:gd name="T68" fmla="*/ 524 w 1169"/>
                  <a:gd name="T69" fmla="*/ 60 h 987"/>
                  <a:gd name="T70" fmla="*/ 755 w 1169"/>
                  <a:gd name="T71" fmla="*/ 49 h 987"/>
                  <a:gd name="T72" fmla="*/ 783 w 1169"/>
                  <a:gd name="T73" fmla="*/ 38 h 987"/>
                  <a:gd name="T74" fmla="*/ 816 w 1169"/>
                  <a:gd name="T75" fmla="*/ 5 h 987"/>
                  <a:gd name="T76" fmla="*/ 965 w 1169"/>
                  <a:gd name="T77" fmla="*/ 976 h 987"/>
                  <a:gd name="T78" fmla="*/ 1004 w 1169"/>
                  <a:gd name="T79" fmla="*/ 943 h 987"/>
                  <a:gd name="T80" fmla="*/ 1026 w 1169"/>
                  <a:gd name="T81" fmla="*/ 960 h 987"/>
                  <a:gd name="T82" fmla="*/ 954 w 1169"/>
                  <a:gd name="T83" fmla="*/ 987 h 987"/>
                  <a:gd name="T84" fmla="*/ 1059 w 1169"/>
                  <a:gd name="T85" fmla="*/ 954 h 987"/>
                  <a:gd name="T86" fmla="*/ 1141 w 1169"/>
                  <a:gd name="T87" fmla="*/ 877 h 987"/>
                  <a:gd name="T88" fmla="*/ 1169 w 1169"/>
                  <a:gd name="T89" fmla="*/ 789 h 987"/>
                  <a:gd name="T90" fmla="*/ 1147 w 1169"/>
                  <a:gd name="T91" fmla="*/ 849 h 987"/>
                  <a:gd name="T92" fmla="*/ 1064 w 1169"/>
                  <a:gd name="T93" fmla="*/ 932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69" h="987">
                    <a:moveTo>
                      <a:pt x="855" y="5"/>
                    </a:moveTo>
                    <a:lnTo>
                      <a:pt x="871" y="60"/>
                    </a:lnTo>
                    <a:lnTo>
                      <a:pt x="899" y="132"/>
                    </a:lnTo>
                    <a:lnTo>
                      <a:pt x="937" y="204"/>
                    </a:lnTo>
                    <a:lnTo>
                      <a:pt x="965" y="248"/>
                    </a:lnTo>
                    <a:lnTo>
                      <a:pt x="1004" y="287"/>
                    </a:lnTo>
                    <a:lnTo>
                      <a:pt x="1031" y="314"/>
                    </a:lnTo>
                    <a:lnTo>
                      <a:pt x="1042" y="336"/>
                    </a:lnTo>
                    <a:lnTo>
                      <a:pt x="1037" y="347"/>
                    </a:lnTo>
                    <a:lnTo>
                      <a:pt x="1031" y="358"/>
                    </a:lnTo>
                    <a:lnTo>
                      <a:pt x="1053" y="413"/>
                    </a:lnTo>
                    <a:lnTo>
                      <a:pt x="1070" y="430"/>
                    </a:lnTo>
                    <a:lnTo>
                      <a:pt x="1092" y="474"/>
                    </a:lnTo>
                    <a:lnTo>
                      <a:pt x="1119" y="513"/>
                    </a:lnTo>
                    <a:lnTo>
                      <a:pt x="1152" y="573"/>
                    </a:lnTo>
                    <a:lnTo>
                      <a:pt x="1158" y="629"/>
                    </a:lnTo>
                    <a:lnTo>
                      <a:pt x="1163" y="717"/>
                    </a:lnTo>
                    <a:lnTo>
                      <a:pt x="1169" y="733"/>
                    </a:lnTo>
                    <a:lnTo>
                      <a:pt x="1163" y="756"/>
                    </a:lnTo>
                    <a:lnTo>
                      <a:pt x="1147" y="767"/>
                    </a:lnTo>
                    <a:lnTo>
                      <a:pt x="1152" y="783"/>
                    </a:lnTo>
                    <a:lnTo>
                      <a:pt x="1147" y="794"/>
                    </a:lnTo>
                    <a:lnTo>
                      <a:pt x="1147" y="811"/>
                    </a:lnTo>
                    <a:lnTo>
                      <a:pt x="1152" y="827"/>
                    </a:lnTo>
                    <a:lnTo>
                      <a:pt x="1130" y="849"/>
                    </a:lnTo>
                    <a:lnTo>
                      <a:pt x="1108" y="860"/>
                    </a:lnTo>
                    <a:lnTo>
                      <a:pt x="1081" y="860"/>
                    </a:lnTo>
                    <a:lnTo>
                      <a:pt x="1070" y="877"/>
                    </a:lnTo>
                    <a:lnTo>
                      <a:pt x="1053" y="882"/>
                    </a:lnTo>
                    <a:lnTo>
                      <a:pt x="1042" y="877"/>
                    </a:lnTo>
                    <a:lnTo>
                      <a:pt x="1037" y="871"/>
                    </a:lnTo>
                    <a:lnTo>
                      <a:pt x="1031" y="849"/>
                    </a:lnTo>
                    <a:lnTo>
                      <a:pt x="1026" y="827"/>
                    </a:lnTo>
                    <a:lnTo>
                      <a:pt x="1004" y="789"/>
                    </a:lnTo>
                    <a:lnTo>
                      <a:pt x="976" y="772"/>
                    </a:lnTo>
                    <a:lnTo>
                      <a:pt x="948" y="767"/>
                    </a:lnTo>
                    <a:lnTo>
                      <a:pt x="943" y="778"/>
                    </a:lnTo>
                    <a:lnTo>
                      <a:pt x="915" y="744"/>
                    </a:lnTo>
                    <a:lnTo>
                      <a:pt x="915" y="717"/>
                    </a:lnTo>
                    <a:lnTo>
                      <a:pt x="893" y="689"/>
                    </a:lnTo>
                    <a:lnTo>
                      <a:pt x="882" y="678"/>
                    </a:lnTo>
                    <a:lnTo>
                      <a:pt x="871" y="695"/>
                    </a:lnTo>
                    <a:lnTo>
                      <a:pt x="855" y="695"/>
                    </a:lnTo>
                    <a:lnTo>
                      <a:pt x="838" y="656"/>
                    </a:lnTo>
                    <a:lnTo>
                      <a:pt x="822" y="629"/>
                    </a:lnTo>
                    <a:lnTo>
                      <a:pt x="799" y="590"/>
                    </a:lnTo>
                    <a:lnTo>
                      <a:pt x="777" y="568"/>
                    </a:lnTo>
                    <a:lnTo>
                      <a:pt x="750" y="540"/>
                    </a:lnTo>
                    <a:lnTo>
                      <a:pt x="766" y="524"/>
                    </a:lnTo>
                    <a:lnTo>
                      <a:pt x="794" y="480"/>
                    </a:lnTo>
                    <a:lnTo>
                      <a:pt x="788" y="469"/>
                    </a:lnTo>
                    <a:lnTo>
                      <a:pt x="755" y="463"/>
                    </a:lnTo>
                    <a:lnTo>
                      <a:pt x="744" y="469"/>
                    </a:lnTo>
                    <a:lnTo>
                      <a:pt x="750" y="474"/>
                    </a:lnTo>
                    <a:lnTo>
                      <a:pt x="766" y="480"/>
                    </a:lnTo>
                    <a:lnTo>
                      <a:pt x="755" y="513"/>
                    </a:lnTo>
                    <a:lnTo>
                      <a:pt x="750" y="513"/>
                    </a:lnTo>
                    <a:lnTo>
                      <a:pt x="739" y="485"/>
                    </a:lnTo>
                    <a:lnTo>
                      <a:pt x="728" y="452"/>
                    </a:lnTo>
                    <a:lnTo>
                      <a:pt x="728" y="430"/>
                    </a:lnTo>
                    <a:lnTo>
                      <a:pt x="733" y="397"/>
                    </a:lnTo>
                    <a:lnTo>
                      <a:pt x="733" y="325"/>
                    </a:lnTo>
                    <a:lnTo>
                      <a:pt x="711" y="298"/>
                    </a:lnTo>
                    <a:lnTo>
                      <a:pt x="706" y="276"/>
                    </a:lnTo>
                    <a:lnTo>
                      <a:pt x="667" y="264"/>
                    </a:lnTo>
                    <a:lnTo>
                      <a:pt x="651" y="259"/>
                    </a:lnTo>
                    <a:lnTo>
                      <a:pt x="640" y="242"/>
                    </a:lnTo>
                    <a:lnTo>
                      <a:pt x="612" y="231"/>
                    </a:lnTo>
                    <a:lnTo>
                      <a:pt x="606" y="204"/>
                    </a:lnTo>
                    <a:lnTo>
                      <a:pt x="584" y="198"/>
                    </a:lnTo>
                    <a:lnTo>
                      <a:pt x="568" y="171"/>
                    </a:lnTo>
                    <a:lnTo>
                      <a:pt x="535" y="160"/>
                    </a:lnTo>
                    <a:lnTo>
                      <a:pt x="518" y="149"/>
                    </a:lnTo>
                    <a:lnTo>
                      <a:pt x="496" y="149"/>
                    </a:lnTo>
                    <a:lnTo>
                      <a:pt x="469" y="154"/>
                    </a:lnTo>
                    <a:lnTo>
                      <a:pt x="469" y="171"/>
                    </a:lnTo>
                    <a:lnTo>
                      <a:pt x="474" y="176"/>
                    </a:lnTo>
                    <a:lnTo>
                      <a:pt x="469" y="187"/>
                    </a:lnTo>
                    <a:lnTo>
                      <a:pt x="447" y="182"/>
                    </a:lnTo>
                    <a:lnTo>
                      <a:pt x="419" y="209"/>
                    </a:lnTo>
                    <a:lnTo>
                      <a:pt x="391" y="226"/>
                    </a:lnTo>
                    <a:lnTo>
                      <a:pt x="364" y="226"/>
                    </a:lnTo>
                    <a:lnTo>
                      <a:pt x="342" y="231"/>
                    </a:lnTo>
                    <a:lnTo>
                      <a:pt x="336" y="215"/>
                    </a:lnTo>
                    <a:lnTo>
                      <a:pt x="325" y="198"/>
                    </a:lnTo>
                    <a:lnTo>
                      <a:pt x="303" y="193"/>
                    </a:lnTo>
                    <a:lnTo>
                      <a:pt x="292" y="182"/>
                    </a:lnTo>
                    <a:lnTo>
                      <a:pt x="231" y="154"/>
                    </a:lnTo>
                    <a:lnTo>
                      <a:pt x="176" y="138"/>
                    </a:lnTo>
                    <a:lnTo>
                      <a:pt x="143" y="143"/>
                    </a:lnTo>
                    <a:lnTo>
                      <a:pt x="99" y="149"/>
                    </a:lnTo>
                    <a:lnTo>
                      <a:pt x="55" y="160"/>
                    </a:lnTo>
                    <a:lnTo>
                      <a:pt x="33" y="165"/>
                    </a:lnTo>
                    <a:lnTo>
                      <a:pt x="27" y="110"/>
                    </a:lnTo>
                    <a:lnTo>
                      <a:pt x="11" y="93"/>
                    </a:lnTo>
                    <a:lnTo>
                      <a:pt x="0" y="82"/>
                    </a:lnTo>
                    <a:lnTo>
                      <a:pt x="0" y="60"/>
                    </a:lnTo>
                    <a:lnTo>
                      <a:pt x="77" y="49"/>
                    </a:lnTo>
                    <a:lnTo>
                      <a:pt x="265" y="27"/>
                    </a:lnTo>
                    <a:lnTo>
                      <a:pt x="314" y="22"/>
                    </a:lnTo>
                    <a:lnTo>
                      <a:pt x="353" y="22"/>
                    </a:lnTo>
                    <a:lnTo>
                      <a:pt x="369" y="55"/>
                    </a:lnTo>
                    <a:lnTo>
                      <a:pt x="380" y="66"/>
                    </a:lnTo>
                    <a:lnTo>
                      <a:pt x="441" y="66"/>
                    </a:lnTo>
                    <a:lnTo>
                      <a:pt x="524" y="60"/>
                    </a:lnTo>
                    <a:lnTo>
                      <a:pt x="678" y="55"/>
                    </a:lnTo>
                    <a:lnTo>
                      <a:pt x="722" y="49"/>
                    </a:lnTo>
                    <a:lnTo>
                      <a:pt x="755" y="49"/>
                    </a:lnTo>
                    <a:lnTo>
                      <a:pt x="755" y="71"/>
                    </a:lnTo>
                    <a:lnTo>
                      <a:pt x="783" y="77"/>
                    </a:lnTo>
                    <a:lnTo>
                      <a:pt x="783" y="38"/>
                    </a:lnTo>
                    <a:lnTo>
                      <a:pt x="772" y="5"/>
                    </a:lnTo>
                    <a:lnTo>
                      <a:pt x="777" y="0"/>
                    </a:lnTo>
                    <a:lnTo>
                      <a:pt x="816" y="5"/>
                    </a:lnTo>
                    <a:lnTo>
                      <a:pt x="855" y="5"/>
                    </a:lnTo>
                    <a:close/>
                    <a:moveTo>
                      <a:pt x="948" y="982"/>
                    </a:moveTo>
                    <a:lnTo>
                      <a:pt x="965" y="976"/>
                    </a:lnTo>
                    <a:lnTo>
                      <a:pt x="976" y="976"/>
                    </a:lnTo>
                    <a:lnTo>
                      <a:pt x="987" y="960"/>
                    </a:lnTo>
                    <a:lnTo>
                      <a:pt x="1004" y="943"/>
                    </a:lnTo>
                    <a:lnTo>
                      <a:pt x="1015" y="949"/>
                    </a:lnTo>
                    <a:lnTo>
                      <a:pt x="1026" y="949"/>
                    </a:lnTo>
                    <a:lnTo>
                      <a:pt x="1026" y="960"/>
                    </a:lnTo>
                    <a:lnTo>
                      <a:pt x="1004" y="971"/>
                    </a:lnTo>
                    <a:lnTo>
                      <a:pt x="970" y="976"/>
                    </a:lnTo>
                    <a:lnTo>
                      <a:pt x="954" y="987"/>
                    </a:lnTo>
                    <a:lnTo>
                      <a:pt x="948" y="982"/>
                    </a:lnTo>
                    <a:close/>
                    <a:moveTo>
                      <a:pt x="1048" y="943"/>
                    </a:moveTo>
                    <a:lnTo>
                      <a:pt x="1059" y="954"/>
                    </a:lnTo>
                    <a:lnTo>
                      <a:pt x="1075" y="938"/>
                    </a:lnTo>
                    <a:lnTo>
                      <a:pt x="1114" y="904"/>
                    </a:lnTo>
                    <a:lnTo>
                      <a:pt x="1141" y="877"/>
                    </a:lnTo>
                    <a:lnTo>
                      <a:pt x="1163" y="827"/>
                    </a:lnTo>
                    <a:lnTo>
                      <a:pt x="1169" y="816"/>
                    </a:lnTo>
                    <a:lnTo>
                      <a:pt x="1169" y="789"/>
                    </a:lnTo>
                    <a:lnTo>
                      <a:pt x="1163" y="794"/>
                    </a:lnTo>
                    <a:lnTo>
                      <a:pt x="1158" y="816"/>
                    </a:lnTo>
                    <a:lnTo>
                      <a:pt x="1147" y="849"/>
                    </a:lnTo>
                    <a:lnTo>
                      <a:pt x="1125" y="888"/>
                    </a:lnTo>
                    <a:lnTo>
                      <a:pt x="1092" y="921"/>
                    </a:lnTo>
                    <a:lnTo>
                      <a:pt x="1064" y="932"/>
                    </a:lnTo>
                    <a:lnTo>
                      <a:pt x="1048" y="943"/>
                    </a:lnTo>
                    <a:close/>
                  </a:path>
                </a:pathLst>
              </a:custGeom>
              <a:solidFill>
                <a:srgbClr val="104C10"/>
              </a:solidFill>
              <a:ln w="9525" cap="flat">
                <a:solidFill>
                  <a:schemeClr val="bg1"/>
                </a:solidFill>
                <a:prstDash val="solid"/>
                <a:miter lim="800000"/>
                <a:headEnd/>
                <a:tailEnd/>
              </a:ln>
              <a:effectLst/>
            </p:spPr>
            <p:txBody>
              <a:bodyPr vert="horz" wrap="square" lIns="68580" tIns="34290" rIns="68580" bIns="34290" numCol="1" anchor="t" anchorCtr="0" compatLnSpc="1">
                <a:prstTxWarp prst="textNoShape">
                  <a:avLst/>
                </a:prstTxWarp>
              </a:bodyPr>
              <a:lstStyle/>
              <a:p>
                <a:endParaRPr lang="en-US" sz="1350" dirty="0"/>
              </a:p>
            </p:txBody>
          </p:sp>
          <p:sp>
            <p:nvSpPr>
              <p:cNvPr id="132" name="Freeform 8">
                <a:extLst/>
              </p:cNvPr>
              <p:cNvSpPr>
                <a:spLocks/>
              </p:cNvSpPr>
              <p:nvPr/>
            </p:nvSpPr>
            <p:spPr bwMode="auto">
              <a:xfrm>
                <a:off x="8761413" y="3984625"/>
                <a:ext cx="1033463" cy="779463"/>
              </a:xfrm>
              <a:custGeom>
                <a:avLst/>
                <a:gdLst>
                  <a:gd name="T0" fmla="*/ 392 w 651"/>
                  <a:gd name="T1" fmla="*/ 486 h 491"/>
                  <a:gd name="T2" fmla="*/ 381 w 651"/>
                  <a:gd name="T3" fmla="*/ 491 h 491"/>
                  <a:gd name="T4" fmla="*/ 359 w 651"/>
                  <a:gd name="T5" fmla="*/ 480 h 491"/>
                  <a:gd name="T6" fmla="*/ 353 w 651"/>
                  <a:gd name="T7" fmla="*/ 469 h 491"/>
                  <a:gd name="T8" fmla="*/ 348 w 651"/>
                  <a:gd name="T9" fmla="*/ 442 h 491"/>
                  <a:gd name="T10" fmla="*/ 331 w 651"/>
                  <a:gd name="T11" fmla="*/ 425 h 491"/>
                  <a:gd name="T12" fmla="*/ 309 w 651"/>
                  <a:gd name="T13" fmla="*/ 420 h 491"/>
                  <a:gd name="T14" fmla="*/ 298 w 651"/>
                  <a:gd name="T15" fmla="*/ 387 h 491"/>
                  <a:gd name="T16" fmla="*/ 276 w 651"/>
                  <a:gd name="T17" fmla="*/ 342 h 491"/>
                  <a:gd name="T18" fmla="*/ 248 w 651"/>
                  <a:gd name="T19" fmla="*/ 326 h 491"/>
                  <a:gd name="T20" fmla="*/ 232 w 651"/>
                  <a:gd name="T21" fmla="*/ 315 h 491"/>
                  <a:gd name="T22" fmla="*/ 221 w 651"/>
                  <a:gd name="T23" fmla="*/ 293 h 491"/>
                  <a:gd name="T24" fmla="*/ 204 w 651"/>
                  <a:gd name="T25" fmla="*/ 282 h 491"/>
                  <a:gd name="T26" fmla="*/ 188 w 651"/>
                  <a:gd name="T27" fmla="*/ 271 h 491"/>
                  <a:gd name="T28" fmla="*/ 171 w 651"/>
                  <a:gd name="T29" fmla="*/ 249 h 491"/>
                  <a:gd name="T30" fmla="*/ 149 w 651"/>
                  <a:gd name="T31" fmla="*/ 232 h 491"/>
                  <a:gd name="T32" fmla="*/ 116 w 651"/>
                  <a:gd name="T33" fmla="*/ 221 h 491"/>
                  <a:gd name="T34" fmla="*/ 116 w 651"/>
                  <a:gd name="T35" fmla="*/ 210 h 491"/>
                  <a:gd name="T36" fmla="*/ 94 w 651"/>
                  <a:gd name="T37" fmla="*/ 188 h 491"/>
                  <a:gd name="T38" fmla="*/ 94 w 651"/>
                  <a:gd name="T39" fmla="*/ 177 h 491"/>
                  <a:gd name="T40" fmla="*/ 66 w 651"/>
                  <a:gd name="T41" fmla="*/ 138 h 491"/>
                  <a:gd name="T42" fmla="*/ 44 w 651"/>
                  <a:gd name="T43" fmla="*/ 138 h 491"/>
                  <a:gd name="T44" fmla="*/ 11 w 651"/>
                  <a:gd name="T45" fmla="*/ 122 h 491"/>
                  <a:gd name="T46" fmla="*/ 0 w 651"/>
                  <a:gd name="T47" fmla="*/ 111 h 491"/>
                  <a:gd name="T48" fmla="*/ 0 w 651"/>
                  <a:gd name="T49" fmla="*/ 100 h 491"/>
                  <a:gd name="T50" fmla="*/ 6 w 651"/>
                  <a:gd name="T51" fmla="*/ 83 h 491"/>
                  <a:gd name="T52" fmla="*/ 22 w 651"/>
                  <a:gd name="T53" fmla="*/ 78 h 491"/>
                  <a:gd name="T54" fmla="*/ 22 w 651"/>
                  <a:gd name="T55" fmla="*/ 61 h 491"/>
                  <a:gd name="T56" fmla="*/ 66 w 651"/>
                  <a:gd name="T57" fmla="*/ 45 h 491"/>
                  <a:gd name="T58" fmla="*/ 133 w 651"/>
                  <a:gd name="T59" fmla="*/ 11 h 491"/>
                  <a:gd name="T60" fmla="*/ 188 w 651"/>
                  <a:gd name="T61" fmla="*/ 6 h 491"/>
                  <a:gd name="T62" fmla="*/ 309 w 651"/>
                  <a:gd name="T63" fmla="*/ 0 h 491"/>
                  <a:gd name="T64" fmla="*/ 326 w 651"/>
                  <a:gd name="T65" fmla="*/ 17 h 491"/>
                  <a:gd name="T66" fmla="*/ 337 w 651"/>
                  <a:gd name="T67" fmla="*/ 39 h 491"/>
                  <a:gd name="T68" fmla="*/ 370 w 651"/>
                  <a:gd name="T69" fmla="*/ 34 h 491"/>
                  <a:gd name="T70" fmla="*/ 458 w 651"/>
                  <a:gd name="T71" fmla="*/ 22 h 491"/>
                  <a:gd name="T72" fmla="*/ 480 w 651"/>
                  <a:gd name="T73" fmla="*/ 28 h 491"/>
                  <a:gd name="T74" fmla="*/ 574 w 651"/>
                  <a:gd name="T75" fmla="*/ 83 h 491"/>
                  <a:gd name="T76" fmla="*/ 651 w 651"/>
                  <a:gd name="T77" fmla="*/ 144 h 491"/>
                  <a:gd name="T78" fmla="*/ 607 w 651"/>
                  <a:gd name="T79" fmla="*/ 188 h 491"/>
                  <a:gd name="T80" fmla="*/ 590 w 651"/>
                  <a:gd name="T81" fmla="*/ 232 h 491"/>
                  <a:gd name="T82" fmla="*/ 585 w 651"/>
                  <a:gd name="T83" fmla="*/ 276 h 491"/>
                  <a:gd name="T84" fmla="*/ 574 w 651"/>
                  <a:gd name="T85" fmla="*/ 282 h 491"/>
                  <a:gd name="T86" fmla="*/ 568 w 651"/>
                  <a:gd name="T87" fmla="*/ 304 h 491"/>
                  <a:gd name="T88" fmla="*/ 546 w 651"/>
                  <a:gd name="T89" fmla="*/ 309 h 491"/>
                  <a:gd name="T90" fmla="*/ 535 w 651"/>
                  <a:gd name="T91" fmla="*/ 337 h 491"/>
                  <a:gd name="T92" fmla="*/ 513 w 651"/>
                  <a:gd name="T93" fmla="*/ 354 h 491"/>
                  <a:gd name="T94" fmla="*/ 497 w 651"/>
                  <a:gd name="T95" fmla="*/ 381 h 491"/>
                  <a:gd name="T96" fmla="*/ 486 w 651"/>
                  <a:gd name="T97" fmla="*/ 387 h 491"/>
                  <a:gd name="T98" fmla="*/ 458 w 651"/>
                  <a:gd name="T99" fmla="*/ 409 h 491"/>
                  <a:gd name="T100" fmla="*/ 436 w 651"/>
                  <a:gd name="T101" fmla="*/ 414 h 491"/>
                  <a:gd name="T102" fmla="*/ 441 w 651"/>
                  <a:gd name="T103" fmla="*/ 436 h 491"/>
                  <a:gd name="T104" fmla="*/ 408 w 651"/>
                  <a:gd name="T105" fmla="*/ 475 h 491"/>
                  <a:gd name="T106" fmla="*/ 392 w 651"/>
                  <a:gd name="T107" fmla="*/ 486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1" h="491">
                    <a:moveTo>
                      <a:pt x="392" y="486"/>
                    </a:moveTo>
                    <a:lnTo>
                      <a:pt x="381" y="491"/>
                    </a:lnTo>
                    <a:lnTo>
                      <a:pt x="359" y="480"/>
                    </a:lnTo>
                    <a:lnTo>
                      <a:pt x="353" y="469"/>
                    </a:lnTo>
                    <a:lnTo>
                      <a:pt x="348" y="442"/>
                    </a:lnTo>
                    <a:lnTo>
                      <a:pt x="331" y="425"/>
                    </a:lnTo>
                    <a:lnTo>
                      <a:pt x="309" y="420"/>
                    </a:lnTo>
                    <a:lnTo>
                      <a:pt x="298" y="387"/>
                    </a:lnTo>
                    <a:lnTo>
                      <a:pt x="276" y="342"/>
                    </a:lnTo>
                    <a:lnTo>
                      <a:pt x="248" y="326"/>
                    </a:lnTo>
                    <a:lnTo>
                      <a:pt x="232" y="315"/>
                    </a:lnTo>
                    <a:lnTo>
                      <a:pt x="221" y="293"/>
                    </a:lnTo>
                    <a:lnTo>
                      <a:pt x="204" y="282"/>
                    </a:lnTo>
                    <a:lnTo>
                      <a:pt x="188" y="271"/>
                    </a:lnTo>
                    <a:lnTo>
                      <a:pt x="171" y="249"/>
                    </a:lnTo>
                    <a:lnTo>
                      <a:pt x="149" y="232"/>
                    </a:lnTo>
                    <a:lnTo>
                      <a:pt x="116" y="221"/>
                    </a:lnTo>
                    <a:lnTo>
                      <a:pt x="116" y="210"/>
                    </a:lnTo>
                    <a:lnTo>
                      <a:pt x="94" y="188"/>
                    </a:lnTo>
                    <a:lnTo>
                      <a:pt x="94" y="177"/>
                    </a:lnTo>
                    <a:lnTo>
                      <a:pt x="66" y="138"/>
                    </a:lnTo>
                    <a:lnTo>
                      <a:pt x="44" y="138"/>
                    </a:lnTo>
                    <a:lnTo>
                      <a:pt x="11" y="122"/>
                    </a:lnTo>
                    <a:lnTo>
                      <a:pt x="0" y="111"/>
                    </a:lnTo>
                    <a:lnTo>
                      <a:pt x="0" y="100"/>
                    </a:lnTo>
                    <a:lnTo>
                      <a:pt x="6" y="83"/>
                    </a:lnTo>
                    <a:lnTo>
                      <a:pt x="22" y="78"/>
                    </a:lnTo>
                    <a:lnTo>
                      <a:pt x="22" y="61"/>
                    </a:lnTo>
                    <a:lnTo>
                      <a:pt x="66" y="45"/>
                    </a:lnTo>
                    <a:lnTo>
                      <a:pt x="133" y="11"/>
                    </a:lnTo>
                    <a:lnTo>
                      <a:pt x="188" y="6"/>
                    </a:lnTo>
                    <a:lnTo>
                      <a:pt x="309" y="0"/>
                    </a:lnTo>
                    <a:lnTo>
                      <a:pt x="326" y="17"/>
                    </a:lnTo>
                    <a:lnTo>
                      <a:pt x="337" y="39"/>
                    </a:lnTo>
                    <a:lnTo>
                      <a:pt x="370" y="34"/>
                    </a:lnTo>
                    <a:lnTo>
                      <a:pt x="458" y="22"/>
                    </a:lnTo>
                    <a:lnTo>
                      <a:pt x="480" y="28"/>
                    </a:lnTo>
                    <a:lnTo>
                      <a:pt x="574" y="83"/>
                    </a:lnTo>
                    <a:lnTo>
                      <a:pt x="651" y="144"/>
                    </a:lnTo>
                    <a:lnTo>
                      <a:pt x="607" y="188"/>
                    </a:lnTo>
                    <a:lnTo>
                      <a:pt x="590" y="232"/>
                    </a:lnTo>
                    <a:lnTo>
                      <a:pt x="585" y="276"/>
                    </a:lnTo>
                    <a:lnTo>
                      <a:pt x="574" y="282"/>
                    </a:lnTo>
                    <a:lnTo>
                      <a:pt x="568" y="304"/>
                    </a:lnTo>
                    <a:lnTo>
                      <a:pt x="546" y="309"/>
                    </a:lnTo>
                    <a:lnTo>
                      <a:pt x="535" y="337"/>
                    </a:lnTo>
                    <a:lnTo>
                      <a:pt x="513" y="354"/>
                    </a:lnTo>
                    <a:lnTo>
                      <a:pt x="497" y="381"/>
                    </a:lnTo>
                    <a:lnTo>
                      <a:pt x="486" y="387"/>
                    </a:lnTo>
                    <a:lnTo>
                      <a:pt x="458" y="409"/>
                    </a:lnTo>
                    <a:lnTo>
                      <a:pt x="436" y="414"/>
                    </a:lnTo>
                    <a:lnTo>
                      <a:pt x="441" y="436"/>
                    </a:lnTo>
                    <a:lnTo>
                      <a:pt x="408" y="475"/>
                    </a:lnTo>
                    <a:lnTo>
                      <a:pt x="392" y="48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3" name="Freeform 9">
                <a:extLst/>
              </p:cNvPr>
              <p:cNvSpPr>
                <a:spLocks/>
              </p:cNvSpPr>
              <p:nvPr/>
            </p:nvSpPr>
            <p:spPr bwMode="auto">
              <a:xfrm>
                <a:off x="8288338" y="4090988"/>
                <a:ext cx="1095375" cy="1146175"/>
              </a:xfrm>
              <a:custGeom>
                <a:avLst/>
                <a:gdLst>
                  <a:gd name="T0" fmla="*/ 127 w 690"/>
                  <a:gd name="T1" fmla="*/ 22 h 722"/>
                  <a:gd name="T2" fmla="*/ 0 w 690"/>
                  <a:gd name="T3" fmla="*/ 33 h 722"/>
                  <a:gd name="T4" fmla="*/ 6 w 690"/>
                  <a:gd name="T5" fmla="*/ 66 h 722"/>
                  <a:gd name="T6" fmla="*/ 34 w 690"/>
                  <a:gd name="T7" fmla="*/ 149 h 722"/>
                  <a:gd name="T8" fmla="*/ 61 w 690"/>
                  <a:gd name="T9" fmla="*/ 270 h 722"/>
                  <a:gd name="T10" fmla="*/ 83 w 690"/>
                  <a:gd name="T11" fmla="*/ 353 h 722"/>
                  <a:gd name="T12" fmla="*/ 122 w 690"/>
                  <a:gd name="T13" fmla="*/ 424 h 722"/>
                  <a:gd name="T14" fmla="*/ 138 w 690"/>
                  <a:gd name="T15" fmla="*/ 458 h 722"/>
                  <a:gd name="T16" fmla="*/ 127 w 690"/>
                  <a:gd name="T17" fmla="*/ 507 h 722"/>
                  <a:gd name="T18" fmla="*/ 122 w 690"/>
                  <a:gd name="T19" fmla="*/ 546 h 722"/>
                  <a:gd name="T20" fmla="*/ 133 w 690"/>
                  <a:gd name="T21" fmla="*/ 618 h 722"/>
                  <a:gd name="T22" fmla="*/ 133 w 690"/>
                  <a:gd name="T23" fmla="*/ 640 h 722"/>
                  <a:gd name="T24" fmla="*/ 149 w 690"/>
                  <a:gd name="T25" fmla="*/ 673 h 722"/>
                  <a:gd name="T26" fmla="*/ 177 w 690"/>
                  <a:gd name="T27" fmla="*/ 711 h 722"/>
                  <a:gd name="T28" fmla="*/ 315 w 690"/>
                  <a:gd name="T29" fmla="*/ 706 h 722"/>
                  <a:gd name="T30" fmla="*/ 513 w 690"/>
                  <a:gd name="T31" fmla="*/ 695 h 722"/>
                  <a:gd name="T32" fmla="*/ 552 w 690"/>
                  <a:gd name="T33" fmla="*/ 717 h 722"/>
                  <a:gd name="T34" fmla="*/ 568 w 690"/>
                  <a:gd name="T35" fmla="*/ 689 h 722"/>
                  <a:gd name="T36" fmla="*/ 568 w 690"/>
                  <a:gd name="T37" fmla="*/ 645 h 722"/>
                  <a:gd name="T38" fmla="*/ 646 w 690"/>
                  <a:gd name="T39" fmla="*/ 651 h 722"/>
                  <a:gd name="T40" fmla="*/ 657 w 690"/>
                  <a:gd name="T41" fmla="*/ 529 h 722"/>
                  <a:gd name="T42" fmla="*/ 662 w 690"/>
                  <a:gd name="T43" fmla="*/ 480 h 722"/>
                  <a:gd name="T44" fmla="*/ 684 w 690"/>
                  <a:gd name="T45" fmla="*/ 424 h 722"/>
                  <a:gd name="T46" fmla="*/ 651 w 690"/>
                  <a:gd name="T47" fmla="*/ 419 h 722"/>
                  <a:gd name="T48" fmla="*/ 640 w 690"/>
                  <a:gd name="T49" fmla="*/ 380 h 722"/>
                  <a:gd name="T50" fmla="*/ 602 w 690"/>
                  <a:gd name="T51" fmla="*/ 358 h 722"/>
                  <a:gd name="T52" fmla="*/ 568 w 690"/>
                  <a:gd name="T53" fmla="*/ 275 h 722"/>
                  <a:gd name="T54" fmla="*/ 524 w 690"/>
                  <a:gd name="T55" fmla="*/ 248 h 722"/>
                  <a:gd name="T56" fmla="*/ 497 w 690"/>
                  <a:gd name="T57" fmla="*/ 215 h 722"/>
                  <a:gd name="T58" fmla="*/ 464 w 690"/>
                  <a:gd name="T59" fmla="*/ 182 h 722"/>
                  <a:gd name="T60" fmla="*/ 409 w 690"/>
                  <a:gd name="T61" fmla="*/ 154 h 722"/>
                  <a:gd name="T62" fmla="*/ 386 w 690"/>
                  <a:gd name="T63" fmla="*/ 121 h 722"/>
                  <a:gd name="T64" fmla="*/ 359 w 690"/>
                  <a:gd name="T65" fmla="*/ 77 h 722"/>
                  <a:gd name="T66" fmla="*/ 304 w 690"/>
                  <a:gd name="T67" fmla="*/ 55 h 722"/>
                  <a:gd name="T68" fmla="*/ 293 w 690"/>
                  <a:gd name="T69" fmla="*/ 33 h 722"/>
                  <a:gd name="T70" fmla="*/ 315 w 690"/>
                  <a:gd name="T71" fmla="*/ 11 h 722"/>
                  <a:gd name="T72" fmla="*/ 309 w 690"/>
                  <a:gd name="T73" fmla="*/ 0 h 722"/>
                  <a:gd name="T74" fmla="*/ 215 w 690"/>
                  <a:gd name="T75" fmla="*/ 11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0" h="722">
                    <a:moveTo>
                      <a:pt x="160" y="16"/>
                    </a:moveTo>
                    <a:lnTo>
                      <a:pt x="127" y="22"/>
                    </a:lnTo>
                    <a:lnTo>
                      <a:pt x="67" y="27"/>
                    </a:lnTo>
                    <a:lnTo>
                      <a:pt x="0" y="33"/>
                    </a:lnTo>
                    <a:lnTo>
                      <a:pt x="0" y="49"/>
                    </a:lnTo>
                    <a:lnTo>
                      <a:pt x="6" y="66"/>
                    </a:lnTo>
                    <a:lnTo>
                      <a:pt x="6" y="93"/>
                    </a:lnTo>
                    <a:lnTo>
                      <a:pt x="34" y="149"/>
                    </a:lnTo>
                    <a:lnTo>
                      <a:pt x="50" y="220"/>
                    </a:lnTo>
                    <a:lnTo>
                      <a:pt x="61" y="270"/>
                    </a:lnTo>
                    <a:lnTo>
                      <a:pt x="72" y="303"/>
                    </a:lnTo>
                    <a:lnTo>
                      <a:pt x="83" y="353"/>
                    </a:lnTo>
                    <a:lnTo>
                      <a:pt x="100" y="402"/>
                    </a:lnTo>
                    <a:lnTo>
                      <a:pt x="122" y="424"/>
                    </a:lnTo>
                    <a:lnTo>
                      <a:pt x="122" y="452"/>
                    </a:lnTo>
                    <a:lnTo>
                      <a:pt x="138" y="458"/>
                    </a:lnTo>
                    <a:lnTo>
                      <a:pt x="138" y="474"/>
                    </a:lnTo>
                    <a:lnTo>
                      <a:pt x="127" y="507"/>
                    </a:lnTo>
                    <a:lnTo>
                      <a:pt x="122" y="529"/>
                    </a:lnTo>
                    <a:lnTo>
                      <a:pt x="122" y="546"/>
                    </a:lnTo>
                    <a:lnTo>
                      <a:pt x="133" y="579"/>
                    </a:lnTo>
                    <a:lnTo>
                      <a:pt x="133" y="618"/>
                    </a:lnTo>
                    <a:lnTo>
                      <a:pt x="127" y="634"/>
                    </a:lnTo>
                    <a:lnTo>
                      <a:pt x="133" y="640"/>
                    </a:lnTo>
                    <a:lnTo>
                      <a:pt x="144" y="645"/>
                    </a:lnTo>
                    <a:lnTo>
                      <a:pt x="149" y="673"/>
                    </a:lnTo>
                    <a:lnTo>
                      <a:pt x="166" y="700"/>
                    </a:lnTo>
                    <a:lnTo>
                      <a:pt x="177" y="711"/>
                    </a:lnTo>
                    <a:lnTo>
                      <a:pt x="238" y="711"/>
                    </a:lnTo>
                    <a:lnTo>
                      <a:pt x="315" y="706"/>
                    </a:lnTo>
                    <a:lnTo>
                      <a:pt x="475" y="700"/>
                    </a:lnTo>
                    <a:lnTo>
                      <a:pt x="513" y="695"/>
                    </a:lnTo>
                    <a:lnTo>
                      <a:pt x="546" y="695"/>
                    </a:lnTo>
                    <a:lnTo>
                      <a:pt x="552" y="717"/>
                    </a:lnTo>
                    <a:lnTo>
                      <a:pt x="568" y="722"/>
                    </a:lnTo>
                    <a:lnTo>
                      <a:pt x="568" y="689"/>
                    </a:lnTo>
                    <a:lnTo>
                      <a:pt x="557" y="656"/>
                    </a:lnTo>
                    <a:lnTo>
                      <a:pt x="568" y="645"/>
                    </a:lnTo>
                    <a:lnTo>
                      <a:pt x="613" y="651"/>
                    </a:lnTo>
                    <a:lnTo>
                      <a:pt x="646" y="651"/>
                    </a:lnTo>
                    <a:lnTo>
                      <a:pt x="640" y="607"/>
                    </a:lnTo>
                    <a:lnTo>
                      <a:pt x="657" y="529"/>
                    </a:lnTo>
                    <a:lnTo>
                      <a:pt x="668" y="502"/>
                    </a:lnTo>
                    <a:lnTo>
                      <a:pt x="662" y="480"/>
                    </a:lnTo>
                    <a:lnTo>
                      <a:pt x="690" y="435"/>
                    </a:lnTo>
                    <a:lnTo>
                      <a:pt x="684" y="424"/>
                    </a:lnTo>
                    <a:lnTo>
                      <a:pt x="673" y="430"/>
                    </a:lnTo>
                    <a:lnTo>
                      <a:pt x="651" y="419"/>
                    </a:lnTo>
                    <a:lnTo>
                      <a:pt x="646" y="408"/>
                    </a:lnTo>
                    <a:lnTo>
                      <a:pt x="640" y="380"/>
                    </a:lnTo>
                    <a:lnTo>
                      <a:pt x="624" y="364"/>
                    </a:lnTo>
                    <a:lnTo>
                      <a:pt x="602" y="358"/>
                    </a:lnTo>
                    <a:lnTo>
                      <a:pt x="590" y="325"/>
                    </a:lnTo>
                    <a:lnTo>
                      <a:pt x="568" y="275"/>
                    </a:lnTo>
                    <a:lnTo>
                      <a:pt x="541" y="264"/>
                    </a:lnTo>
                    <a:lnTo>
                      <a:pt x="524" y="248"/>
                    </a:lnTo>
                    <a:lnTo>
                      <a:pt x="513" y="231"/>
                    </a:lnTo>
                    <a:lnTo>
                      <a:pt x="497" y="215"/>
                    </a:lnTo>
                    <a:lnTo>
                      <a:pt x="480" y="204"/>
                    </a:lnTo>
                    <a:lnTo>
                      <a:pt x="464" y="182"/>
                    </a:lnTo>
                    <a:lnTo>
                      <a:pt x="442" y="165"/>
                    </a:lnTo>
                    <a:lnTo>
                      <a:pt x="409" y="154"/>
                    </a:lnTo>
                    <a:lnTo>
                      <a:pt x="403" y="143"/>
                    </a:lnTo>
                    <a:lnTo>
                      <a:pt x="386" y="121"/>
                    </a:lnTo>
                    <a:lnTo>
                      <a:pt x="381" y="110"/>
                    </a:lnTo>
                    <a:lnTo>
                      <a:pt x="359" y="77"/>
                    </a:lnTo>
                    <a:lnTo>
                      <a:pt x="331" y="77"/>
                    </a:lnTo>
                    <a:lnTo>
                      <a:pt x="304" y="55"/>
                    </a:lnTo>
                    <a:lnTo>
                      <a:pt x="293" y="44"/>
                    </a:lnTo>
                    <a:lnTo>
                      <a:pt x="293" y="33"/>
                    </a:lnTo>
                    <a:lnTo>
                      <a:pt x="298" y="16"/>
                    </a:lnTo>
                    <a:lnTo>
                      <a:pt x="315" y="11"/>
                    </a:lnTo>
                    <a:lnTo>
                      <a:pt x="304" y="0"/>
                    </a:lnTo>
                    <a:lnTo>
                      <a:pt x="309" y="0"/>
                    </a:lnTo>
                    <a:lnTo>
                      <a:pt x="265" y="5"/>
                    </a:lnTo>
                    <a:lnTo>
                      <a:pt x="215" y="11"/>
                    </a:lnTo>
                    <a:lnTo>
                      <a:pt x="160" y="1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4" name="Freeform 10">
                <a:extLst/>
              </p:cNvPr>
              <p:cNvSpPr>
                <a:spLocks/>
              </p:cNvSpPr>
              <p:nvPr/>
            </p:nvSpPr>
            <p:spPr bwMode="auto">
              <a:xfrm>
                <a:off x="7747000" y="4151313"/>
                <a:ext cx="769938" cy="1270000"/>
              </a:xfrm>
              <a:custGeom>
                <a:avLst/>
                <a:gdLst>
                  <a:gd name="T0" fmla="*/ 33 w 485"/>
                  <a:gd name="T1" fmla="*/ 778 h 800"/>
                  <a:gd name="T2" fmla="*/ 22 w 485"/>
                  <a:gd name="T3" fmla="*/ 662 h 800"/>
                  <a:gd name="T4" fmla="*/ 0 w 485"/>
                  <a:gd name="T5" fmla="*/ 524 h 800"/>
                  <a:gd name="T6" fmla="*/ 5 w 485"/>
                  <a:gd name="T7" fmla="*/ 425 h 800"/>
                  <a:gd name="T8" fmla="*/ 11 w 485"/>
                  <a:gd name="T9" fmla="*/ 193 h 800"/>
                  <a:gd name="T10" fmla="*/ 5 w 485"/>
                  <a:gd name="T11" fmla="*/ 72 h 800"/>
                  <a:gd name="T12" fmla="*/ 11 w 485"/>
                  <a:gd name="T13" fmla="*/ 28 h 800"/>
                  <a:gd name="T14" fmla="*/ 66 w 485"/>
                  <a:gd name="T15" fmla="*/ 22 h 800"/>
                  <a:gd name="T16" fmla="*/ 270 w 485"/>
                  <a:gd name="T17" fmla="*/ 6 h 800"/>
                  <a:gd name="T18" fmla="*/ 336 w 485"/>
                  <a:gd name="T19" fmla="*/ 0 h 800"/>
                  <a:gd name="T20" fmla="*/ 336 w 485"/>
                  <a:gd name="T21" fmla="*/ 17 h 800"/>
                  <a:gd name="T22" fmla="*/ 336 w 485"/>
                  <a:gd name="T23" fmla="*/ 28 h 800"/>
                  <a:gd name="T24" fmla="*/ 341 w 485"/>
                  <a:gd name="T25" fmla="*/ 55 h 800"/>
                  <a:gd name="T26" fmla="*/ 363 w 485"/>
                  <a:gd name="T27" fmla="*/ 116 h 800"/>
                  <a:gd name="T28" fmla="*/ 386 w 485"/>
                  <a:gd name="T29" fmla="*/ 188 h 800"/>
                  <a:gd name="T30" fmla="*/ 397 w 485"/>
                  <a:gd name="T31" fmla="*/ 232 h 800"/>
                  <a:gd name="T32" fmla="*/ 408 w 485"/>
                  <a:gd name="T33" fmla="*/ 265 h 800"/>
                  <a:gd name="T34" fmla="*/ 419 w 485"/>
                  <a:gd name="T35" fmla="*/ 320 h 800"/>
                  <a:gd name="T36" fmla="*/ 430 w 485"/>
                  <a:gd name="T37" fmla="*/ 364 h 800"/>
                  <a:gd name="T38" fmla="*/ 452 w 485"/>
                  <a:gd name="T39" fmla="*/ 392 h 800"/>
                  <a:gd name="T40" fmla="*/ 452 w 485"/>
                  <a:gd name="T41" fmla="*/ 414 h 800"/>
                  <a:gd name="T42" fmla="*/ 468 w 485"/>
                  <a:gd name="T43" fmla="*/ 420 h 800"/>
                  <a:gd name="T44" fmla="*/ 468 w 485"/>
                  <a:gd name="T45" fmla="*/ 436 h 800"/>
                  <a:gd name="T46" fmla="*/ 457 w 485"/>
                  <a:gd name="T47" fmla="*/ 469 h 800"/>
                  <a:gd name="T48" fmla="*/ 452 w 485"/>
                  <a:gd name="T49" fmla="*/ 497 h 800"/>
                  <a:gd name="T50" fmla="*/ 452 w 485"/>
                  <a:gd name="T51" fmla="*/ 508 h 800"/>
                  <a:gd name="T52" fmla="*/ 463 w 485"/>
                  <a:gd name="T53" fmla="*/ 541 h 800"/>
                  <a:gd name="T54" fmla="*/ 468 w 485"/>
                  <a:gd name="T55" fmla="*/ 580 h 800"/>
                  <a:gd name="T56" fmla="*/ 463 w 485"/>
                  <a:gd name="T57" fmla="*/ 596 h 800"/>
                  <a:gd name="T58" fmla="*/ 463 w 485"/>
                  <a:gd name="T59" fmla="*/ 607 h 800"/>
                  <a:gd name="T60" fmla="*/ 474 w 485"/>
                  <a:gd name="T61" fmla="*/ 613 h 800"/>
                  <a:gd name="T62" fmla="*/ 485 w 485"/>
                  <a:gd name="T63" fmla="*/ 629 h 800"/>
                  <a:gd name="T64" fmla="*/ 435 w 485"/>
                  <a:gd name="T65" fmla="*/ 629 h 800"/>
                  <a:gd name="T66" fmla="*/ 386 w 485"/>
                  <a:gd name="T67" fmla="*/ 635 h 800"/>
                  <a:gd name="T68" fmla="*/ 198 w 485"/>
                  <a:gd name="T69" fmla="*/ 657 h 800"/>
                  <a:gd name="T70" fmla="*/ 121 w 485"/>
                  <a:gd name="T71" fmla="*/ 668 h 800"/>
                  <a:gd name="T72" fmla="*/ 121 w 485"/>
                  <a:gd name="T73" fmla="*/ 695 h 800"/>
                  <a:gd name="T74" fmla="*/ 137 w 485"/>
                  <a:gd name="T75" fmla="*/ 706 h 800"/>
                  <a:gd name="T76" fmla="*/ 154 w 485"/>
                  <a:gd name="T77" fmla="*/ 723 h 800"/>
                  <a:gd name="T78" fmla="*/ 159 w 485"/>
                  <a:gd name="T79" fmla="*/ 778 h 800"/>
                  <a:gd name="T80" fmla="*/ 115 w 485"/>
                  <a:gd name="T81" fmla="*/ 800 h 800"/>
                  <a:gd name="T82" fmla="*/ 99 w 485"/>
                  <a:gd name="T83" fmla="*/ 795 h 800"/>
                  <a:gd name="T84" fmla="*/ 115 w 485"/>
                  <a:gd name="T85" fmla="*/ 784 h 800"/>
                  <a:gd name="T86" fmla="*/ 115 w 485"/>
                  <a:gd name="T87" fmla="*/ 773 h 800"/>
                  <a:gd name="T88" fmla="*/ 93 w 485"/>
                  <a:gd name="T89" fmla="*/ 729 h 800"/>
                  <a:gd name="T90" fmla="*/ 77 w 485"/>
                  <a:gd name="T91" fmla="*/ 723 h 800"/>
                  <a:gd name="T92" fmla="*/ 66 w 485"/>
                  <a:gd name="T93" fmla="*/ 756 h 800"/>
                  <a:gd name="T94" fmla="*/ 60 w 485"/>
                  <a:gd name="T95" fmla="*/ 778 h 800"/>
                  <a:gd name="T96" fmla="*/ 55 w 485"/>
                  <a:gd name="T97" fmla="*/ 778 h 800"/>
                  <a:gd name="T98" fmla="*/ 33 w 485"/>
                  <a:gd name="T99" fmla="*/ 77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5" h="800">
                    <a:moveTo>
                      <a:pt x="33" y="778"/>
                    </a:moveTo>
                    <a:lnTo>
                      <a:pt x="22" y="662"/>
                    </a:lnTo>
                    <a:lnTo>
                      <a:pt x="0" y="524"/>
                    </a:lnTo>
                    <a:lnTo>
                      <a:pt x="5" y="425"/>
                    </a:lnTo>
                    <a:lnTo>
                      <a:pt x="11" y="193"/>
                    </a:lnTo>
                    <a:lnTo>
                      <a:pt x="5" y="72"/>
                    </a:lnTo>
                    <a:lnTo>
                      <a:pt x="11" y="28"/>
                    </a:lnTo>
                    <a:lnTo>
                      <a:pt x="66" y="22"/>
                    </a:lnTo>
                    <a:lnTo>
                      <a:pt x="270" y="6"/>
                    </a:lnTo>
                    <a:lnTo>
                      <a:pt x="336" y="0"/>
                    </a:lnTo>
                    <a:lnTo>
                      <a:pt x="336" y="17"/>
                    </a:lnTo>
                    <a:lnTo>
                      <a:pt x="336" y="28"/>
                    </a:lnTo>
                    <a:lnTo>
                      <a:pt x="341" y="55"/>
                    </a:lnTo>
                    <a:lnTo>
                      <a:pt x="363" y="116"/>
                    </a:lnTo>
                    <a:lnTo>
                      <a:pt x="386" y="188"/>
                    </a:lnTo>
                    <a:lnTo>
                      <a:pt x="397" y="232"/>
                    </a:lnTo>
                    <a:lnTo>
                      <a:pt x="408" y="265"/>
                    </a:lnTo>
                    <a:lnTo>
                      <a:pt x="419" y="320"/>
                    </a:lnTo>
                    <a:lnTo>
                      <a:pt x="430" y="364"/>
                    </a:lnTo>
                    <a:lnTo>
                      <a:pt x="452" y="392"/>
                    </a:lnTo>
                    <a:lnTo>
                      <a:pt x="452" y="414"/>
                    </a:lnTo>
                    <a:lnTo>
                      <a:pt x="468" y="420"/>
                    </a:lnTo>
                    <a:lnTo>
                      <a:pt x="468" y="436"/>
                    </a:lnTo>
                    <a:lnTo>
                      <a:pt x="457" y="469"/>
                    </a:lnTo>
                    <a:lnTo>
                      <a:pt x="452" y="497"/>
                    </a:lnTo>
                    <a:lnTo>
                      <a:pt x="452" y="508"/>
                    </a:lnTo>
                    <a:lnTo>
                      <a:pt x="463" y="541"/>
                    </a:lnTo>
                    <a:lnTo>
                      <a:pt x="468" y="580"/>
                    </a:lnTo>
                    <a:lnTo>
                      <a:pt x="463" y="596"/>
                    </a:lnTo>
                    <a:lnTo>
                      <a:pt x="463" y="607"/>
                    </a:lnTo>
                    <a:lnTo>
                      <a:pt x="474" y="613"/>
                    </a:lnTo>
                    <a:lnTo>
                      <a:pt x="485" y="629"/>
                    </a:lnTo>
                    <a:lnTo>
                      <a:pt x="435" y="629"/>
                    </a:lnTo>
                    <a:lnTo>
                      <a:pt x="386" y="635"/>
                    </a:lnTo>
                    <a:lnTo>
                      <a:pt x="198" y="657"/>
                    </a:lnTo>
                    <a:lnTo>
                      <a:pt x="121" y="668"/>
                    </a:lnTo>
                    <a:lnTo>
                      <a:pt x="121" y="695"/>
                    </a:lnTo>
                    <a:lnTo>
                      <a:pt x="137" y="706"/>
                    </a:lnTo>
                    <a:lnTo>
                      <a:pt x="154" y="723"/>
                    </a:lnTo>
                    <a:lnTo>
                      <a:pt x="159" y="778"/>
                    </a:lnTo>
                    <a:lnTo>
                      <a:pt x="115" y="800"/>
                    </a:lnTo>
                    <a:lnTo>
                      <a:pt x="99" y="795"/>
                    </a:lnTo>
                    <a:lnTo>
                      <a:pt x="115" y="784"/>
                    </a:lnTo>
                    <a:lnTo>
                      <a:pt x="115" y="773"/>
                    </a:lnTo>
                    <a:lnTo>
                      <a:pt x="93" y="729"/>
                    </a:lnTo>
                    <a:lnTo>
                      <a:pt x="77" y="723"/>
                    </a:lnTo>
                    <a:lnTo>
                      <a:pt x="66" y="756"/>
                    </a:lnTo>
                    <a:lnTo>
                      <a:pt x="60" y="778"/>
                    </a:lnTo>
                    <a:lnTo>
                      <a:pt x="55" y="778"/>
                    </a:lnTo>
                    <a:lnTo>
                      <a:pt x="33" y="778"/>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5" name="Freeform 11">
                <a:extLst/>
              </p:cNvPr>
              <p:cNvSpPr>
                <a:spLocks noEditPoints="1"/>
              </p:cNvSpPr>
              <p:nvPr/>
            </p:nvSpPr>
            <p:spPr bwMode="auto">
              <a:xfrm>
                <a:off x="8542338" y="3416300"/>
                <a:ext cx="1812925" cy="787400"/>
              </a:xfrm>
              <a:custGeom>
                <a:avLst/>
                <a:gdLst>
                  <a:gd name="T0" fmla="*/ 193 w 207"/>
                  <a:gd name="T1" fmla="*/ 7 h 90"/>
                  <a:gd name="T2" fmla="*/ 201 w 207"/>
                  <a:gd name="T3" fmla="*/ 18 h 90"/>
                  <a:gd name="T4" fmla="*/ 198 w 207"/>
                  <a:gd name="T5" fmla="*/ 22 h 90"/>
                  <a:gd name="T6" fmla="*/ 199 w 207"/>
                  <a:gd name="T7" fmla="*/ 28 h 90"/>
                  <a:gd name="T8" fmla="*/ 195 w 207"/>
                  <a:gd name="T9" fmla="*/ 33 h 90"/>
                  <a:gd name="T10" fmla="*/ 188 w 207"/>
                  <a:gd name="T11" fmla="*/ 39 h 90"/>
                  <a:gd name="T12" fmla="*/ 183 w 207"/>
                  <a:gd name="T13" fmla="*/ 38 h 90"/>
                  <a:gd name="T14" fmla="*/ 181 w 207"/>
                  <a:gd name="T15" fmla="*/ 38 h 90"/>
                  <a:gd name="T16" fmla="*/ 184 w 207"/>
                  <a:gd name="T17" fmla="*/ 39 h 90"/>
                  <a:gd name="T18" fmla="*/ 182 w 207"/>
                  <a:gd name="T19" fmla="*/ 49 h 90"/>
                  <a:gd name="T20" fmla="*/ 189 w 207"/>
                  <a:gd name="T21" fmla="*/ 52 h 90"/>
                  <a:gd name="T22" fmla="*/ 193 w 207"/>
                  <a:gd name="T23" fmla="*/ 48 h 90"/>
                  <a:gd name="T24" fmla="*/ 187 w 207"/>
                  <a:gd name="T25" fmla="*/ 59 h 90"/>
                  <a:gd name="T26" fmla="*/ 183 w 207"/>
                  <a:gd name="T27" fmla="*/ 59 h 90"/>
                  <a:gd name="T28" fmla="*/ 173 w 207"/>
                  <a:gd name="T29" fmla="*/ 63 h 90"/>
                  <a:gd name="T30" fmla="*/ 160 w 207"/>
                  <a:gd name="T31" fmla="*/ 76 h 90"/>
                  <a:gd name="T32" fmla="*/ 157 w 207"/>
                  <a:gd name="T33" fmla="*/ 88 h 90"/>
                  <a:gd name="T34" fmla="*/ 143 w 207"/>
                  <a:gd name="T35" fmla="*/ 90 h 90"/>
                  <a:gd name="T36" fmla="*/ 113 w 207"/>
                  <a:gd name="T37" fmla="*/ 69 h 90"/>
                  <a:gd name="T38" fmla="*/ 92 w 207"/>
                  <a:gd name="T39" fmla="*/ 70 h 90"/>
                  <a:gd name="T40" fmla="*/ 84 w 207"/>
                  <a:gd name="T41" fmla="*/ 67 h 90"/>
                  <a:gd name="T42" fmla="*/ 58 w 207"/>
                  <a:gd name="T43" fmla="*/ 65 h 90"/>
                  <a:gd name="T44" fmla="*/ 37 w 207"/>
                  <a:gd name="T45" fmla="*/ 72 h 90"/>
                  <a:gd name="T46" fmla="*/ 26 w 207"/>
                  <a:gd name="T47" fmla="*/ 76 h 90"/>
                  <a:gd name="T48" fmla="*/ 9 w 207"/>
                  <a:gd name="T49" fmla="*/ 78 h 90"/>
                  <a:gd name="T50" fmla="*/ 1 w 207"/>
                  <a:gd name="T51" fmla="*/ 73 h 90"/>
                  <a:gd name="T52" fmla="*/ 7 w 207"/>
                  <a:gd name="T53" fmla="*/ 70 h 90"/>
                  <a:gd name="T54" fmla="*/ 13 w 207"/>
                  <a:gd name="T55" fmla="*/ 62 h 90"/>
                  <a:gd name="T56" fmla="*/ 24 w 207"/>
                  <a:gd name="T57" fmla="*/ 55 h 90"/>
                  <a:gd name="T58" fmla="*/ 31 w 207"/>
                  <a:gd name="T59" fmla="*/ 48 h 90"/>
                  <a:gd name="T60" fmla="*/ 37 w 207"/>
                  <a:gd name="T61" fmla="*/ 43 h 90"/>
                  <a:gd name="T62" fmla="*/ 41 w 207"/>
                  <a:gd name="T63" fmla="*/ 45 h 90"/>
                  <a:gd name="T64" fmla="*/ 46 w 207"/>
                  <a:gd name="T65" fmla="*/ 39 h 90"/>
                  <a:gd name="T66" fmla="*/ 52 w 207"/>
                  <a:gd name="T67" fmla="*/ 35 h 90"/>
                  <a:gd name="T68" fmla="*/ 56 w 207"/>
                  <a:gd name="T69" fmla="*/ 29 h 90"/>
                  <a:gd name="T70" fmla="*/ 62 w 207"/>
                  <a:gd name="T71" fmla="*/ 24 h 90"/>
                  <a:gd name="T72" fmla="*/ 93 w 207"/>
                  <a:gd name="T73" fmla="*/ 20 h 90"/>
                  <a:gd name="T74" fmla="*/ 142 w 207"/>
                  <a:gd name="T75" fmla="*/ 11 h 90"/>
                  <a:gd name="T76" fmla="*/ 184 w 207"/>
                  <a:gd name="T77" fmla="*/ 2 h 90"/>
                  <a:gd name="T78" fmla="*/ 196 w 207"/>
                  <a:gd name="T79" fmla="*/ 44 h 90"/>
                  <a:gd name="T80" fmla="*/ 203 w 207"/>
                  <a:gd name="T81" fmla="*/ 37 h 90"/>
                  <a:gd name="T82" fmla="*/ 206 w 207"/>
                  <a:gd name="T83" fmla="*/ 34 h 90"/>
                  <a:gd name="T84" fmla="*/ 203 w 207"/>
                  <a:gd name="T85" fmla="*/ 23 h 90"/>
                  <a:gd name="T86" fmla="*/ 203 w 207"/>
                  <a:gd name="T87" fmla="*/ 20 h 90"/>
                  <a:gd name="T88" fmla="*/ 207 w 207"/>
                  <a:gd name="T89" fmla="*/ 33 h 90"/>
                  <a:gd name="T90" fmla="*/ 202 w 207"/>
                  <a:gd name="T91" fmla="*/ 40 h 90"/>
                  <a:gd name="T92" fmla="*/ 197 w 207"/>
                  <a:gd name="T93"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7" h="90">
                    <a:moveTo>
                      <a:pt x="190" y="0"/>
                    </a:moveTo>
                    <a:cubicBezTo>
                      <a:pt x="193" y="7"/>
                      <a:pt x="193" y="7"/>
                      <a:pt x="193" y="7"/>
                    </a:cubicBezTo>
                    <a:cubicBezTo>
                      <a:pt x="197" y="15"/>
                      <a:pt x="197" y="15"/>
                      <a:pt x="197" y="15"/>
                    </a:cubicBezTo>
                    <a:cubicBezTo>
                      <a:pt x="201" y="18"/>
                      <a:pt x="201" y="18"/>
                      <a:pt x="201" y="18"/>
                    </a:cubicBezTo>
                    <a:cubicBezTo>
                      <a:pt x="202" y="21"/>
                      <a:pt x="202" y="21"/>
                      <a:pt x="202" y="21"/>
                    </a:cubicBezTo>
                    <a:cubicBezTo>
                      <a:pt x="198" y="22"/>
                      <a:pt x="198" y="22"/>
                      <a:pt x="198" y="22"/>
                    </a:cubicBezTo>
                    <a:cubicBezTo>
                      <a:pt x="199" y="23"/>
                      <a:pt x="199" y="23"/>
                      <a:pt x="199" y="23"/>
                    </a:cubicBezTo>
                    <a:cubicBezTo>
                      <a:pt x="199" y="28"/>
                      <a:pt x="199" y="28"/>
                      <a:pt x="199" y="28"/>
                    </a:cubicBezTo>
                    <a:cubicBezTo>
                      <a:pt x="196" y="30"/>
                      <a:pt x="196" y="30"/>
                      <a:pt x="196" y="30"/>
                    </a:cubicBezTo>
                    <a:cubicBezTo>
                      <a:pt x="195" y="33"/>
                      <a:pt x="195" y="33"/>
                      <a:pt x="195" y="33"/>
                    </a:cubicBezTo>
                    <a:cubicBezTo>
                      <a:pt x="193" y="37"/>
                      <a:pt x="193" y="37"/>
                      <a:pt x="193" y="37"/>
                    </a:cubicBezTo>
                    <a:cubicBezTo>
                      <a:pt x="188" y="39"/>
                      <a:pt x="188" y="39"/>
                      <a:pt x="188" y="39"/>
                    </a:cubicBezTo>
                    <a:cubicBezTo>
                      <a:pt x="185" y="38"/>
                      <a:pt x="185" y="38"/>
                      <a:pt x="185" y="38"/>
                    </a:cubicBezTo>
                    <a:cubicBezTo>
                      <a:pt x="183" y="38"/>
                      <a:pt x="183" y="38"/>
                      <a:pt x="183" y="38"/>
                    </a:cubicBezTo>
                    <a:cubicBezTo>
                      <a:pt x="181" y="36"/>
                      <a:pt x="181" y="36"/>
                      <a:pt x="181" y="36"/>
                    </a:cubicBezTo>
                    <a:cubicBezTo>
                      <a:pt x="181" y="38"/>
                      <a:pt x="181" y="38"/>
                      <a:pt x="181" y="38"/>
                    </a:cubicBezTo>
                    <a:cubicBezTo>
                      <a:pt x="181" y="39"/>
                      <a:pt x="181" y="39"/>
                      <a:pt x="181" y="39"/>
                    </a:cubicBezTo>
                    <a:cubicBezTo>
                      <a:pt x="184" y="39"/>
                      <a:pt x="184" y="39"/>
                      <a:pt x="184" y="39"/>
                    </a:cubicBezTo>
                    <a:cubicBezTo>
                      <a:pt x="185" y="41"/>
                      <a:pt x="185" y="41"/>
                      <a:pt x="185" y="41"/>
                    </a:cubicBezTo>
                    <a:cubicBezTo>
                      <a:pt x="182" y="49"/>
                      <a:pt x="182" y="49"/>
                      <a:pt x="182" y="49"/>
                    </a:cubicBezTo>
                    <a:cubicBezTo>
                      <a:pt x="188" y="49"/>
                      <a:pt x="188" y="49"/>
                      <a:pt x="188" y="49"/>
                    </a:cubicBezTo>
                    <a:cubicBezTo>
                      <a:pt x="189" y="52"/>
                      <a:pt x="189" y="52"/>
                      <a:pt x="189" y="52"/>
                    </a:cubicBezTo>
                    <a:cubicBezTo>
                      <a:pt x="192" y="49"/>
                      <a:pt x="192" y="49"/>
                      <a:pt x="192" y="49"/>
                    </a:cubicBezTo>
                    <a:cubicBezTo>
                      <a:pt x="193" y="48"/>
                      <a:pt x="193" y="48"/>
                      <a:pt x="193" y="48"/>
                    </a:cubicBezTo>
                    <a:cubicBezTo>
                      <a:pt x="191" y="53"/>
                      <a:pt x="191" y="53"/>
                      <a:pt x="191" y="53"/>
                    </a:cubicBezTo>
                    <a:cubicBezTo>
                      <a:pt x="187" y="59"/>
                      <a:pt x="187" y="59"/>
                      <a:pt x="187" y="59"/>
                    </a:cubicBezTo>
                    <a:cubicBezTo>
                      <a:pt x="185" y="59"/>
                      <a:pt x="185" y="59"/>
                      <a:pt x="185" y="59"/>
                    </a:cubicBezTo>
                    <a:cubicBezTo>
                      <a:pt x="183" y="59"/>
                      <a:pt x="183" y="59"/>
                      <a:pt x="183" y="59"/>
                    </a:cubicBezTo>
                    <a:cubicBezTo>
                      <a:pt x="180" y="59"/>
                      <a:pt x="180" y="59"/>
                      <a:pt x="180" y="59"/>
                    </a:cubicBezTo>
                    <a:cubicBezTo>
                      <a:pt x="173" y="63"/>
                      <a:pt x="173" y="63"/>
                      <a:pt x="173" y="63"/>
                    </a:cubicBezTo>
                    <a:cubicBezTo>
                      <a:pt x="164" y="70"/>
                      <a:pt x="164" y="70"/>
                      <a:pt x="164" y="70"/>
                    </a:cubicBezTo>
                    <a:cubicBezTo>
                      <a:pt x="160" y="76"/>
                      <a:pt x="160" y="76"/>
                      <a:pt x="160" y="76"/>
                    </a:cubicBezTo>
                    <a:cubicBezTo>
                      <a:pt x="157" y="85"/>
                      <a:pt x="157" y="85"/>
                      <a:pt x="157" y="85"/>
                    </a:cubicBezTo>
                    <a:cubicBezTo>
                      <a:pt x="157" y="88"/>
                      <a:pt x="157" y="88"/>
                      <a:pt x="157" y="88"/>
                    </a:cubicBezTo>
                    <a:cubicBezTo>
                      <a:pt x="150" y="88"/>
                      <a:pt x="150" y="88"/>
                      <a:pt x="150" y="88"/>
                    </a:cubicBezTo>
                    <a:cubicBezTo>
                      <a:pt x="143" y="90"/>
                      <a:pt x="143" y="90"/>
                      <a:pt x="143" y="90"/>
                    </a:cubicBezTo>
                    <a:cubicBezTo>
                      <a:pt x="130" y="79"/>
                      <a:pt x="130" y="79"/>
                      <a:pt x="130" y="79"/>
                    </a:cubicBezTo>
                    <a:cubicBezTo>
                      <a:pt x="113" y="69"/>
                      <a:pt x="113" y="69"/>
                      <a:pt x="113" y="69"/>
                    </a:cubicBezTo>
                    <a:cubicBezTo>
                      <a:pt x="109" y="68"/>
                      <a:pt x="109" y="68"/>
                      <a:pt x="109" y="68"/>
                    </a:cubicBezTo>
                    <a:cubicBezTo>
                      <a:pt x="92" y="70"/>
                      <a:pt x="92" y="70"/>
                      <a:pt x="92" y="70"/>
                    </a:cubicBezTo>
                    <a:cubicBezTo>
                      <a:pt x="87" y="71"/>
                      <a:pt x="87" y="71"/>
                      <a:pt x="87" y="71"/>
                    </a:cubicBezTo>
                    <a:cubicBezTo>
                      <a:pt x="84" y="67"/>
                      <a:pt x="84" y="67"/>
                      <a:pt x="84" y="67"/>
                    </a:cubicBezTo>
                    <a:cubicBezTo>
                      <a:pt x="80" y="64"/>
                      <a:pt x="80" y="64"/>
                      <a:pt x="80" y="64"/>
                    </a:cubicBezTo>
                    <a:cubicBezTo>
                      <a:pt x="58" y="65"/>
                      <a:pt x="58" y="65"/>
                      <a:pt x="58" y="65"/>
                    </a:cubicBezTo>
                    <a:cubicBezTo>
                      <a:pt x="49" y="66"/>
                      <a:pt x="49" y="66"/>
                      <a:pt x="49" y="66"/>
                    </a:cubicBezTo>
                    <a:cubicBezTo>
                      <a:pt x="37" y="72"/>
                      <a:pt x="37" y="72"/>
                      <a:pt x="37" y="72"/>
                    </a:cubicBezTo>
                    <a:cubicBezTo>
                      <a:pt x="28" y="75"/>
                      <a:pt x="28" y="75"/>
                      <a:pt x="28" y="75"/>
                    </a:cubicBezTo>
                    <a:cubicBezTo>
                      <a:pt x="26" y="76"/>
                      <a:pt x="26" y="76"/>
                      <a:pt x="26" y="76"/>
                    </a:cubicBezTo>
                    <a:cubicBezTo>
                      <a:pt x="19" y="77"/>
                      <a:pt x="19" y="77"/>
                      <a:pt x="19" y="77"/>
                    </a:cubicBezTo>
                    <a:cubicBezTo>
                      <a:pt x="9" y="78"/>
                      <a:pt x="9" y="78"/>
                      <a:pt x="9" y="78"/>
                    </a:cubicBezTo>
                    <a:cubicBezTo>
                      <a:pt x="0" y="79"/>
                      <a:pt x="0" y="79"/>
                      <a:pt x="0" y="79"/>
                    </a:cubicBezTo>
                    <a:cubicBezTo>
                      <a:pt x="1" y="73"/>
                      <a:pt x="1" y="73"/>
                      <a:pt x="1" y="73"/>
                    </a:cubicBezTo>
                    <a:cubicBezTo>
                      <a:pt x="3" y="71"/>
                      <a:pt x="3" y="71"/>
                      <a:pt x="3" y="71"/>
                    </a:cubicBezTo>
                    <a:cubicBezTo>
                      <a:pt x="7" y="70"/>
                      <a:pt x="7" y="70"/>
                      <a:pt x="7" y="70"/>
                    </a:cubicBezTo>
                    <a:cubicBezTo>
                      <a:pt x="8" y="65"/>
                      <a:pt x="8" y="65"/>
                      <a:pt x="8" y="65"/>
                    </a:cubicBezTo>
                    <a:cubicBezTo>
                      <a:pt x="13" y="62"/>
                      <a:pt x="13" y="62"/>
                      <a:pt x="13" y="62"/>
                    </a:cubicBezTo>
                    <a:cubicBezTo>
                      <a:pt x="19" y="60"/>
                      <a:pt x="19" y="60"/>
                      <a:pt x="19" y="60"/>
                    </a:cubicBezTo>
                    <a:cubicBezTo>
                      <a:pt x="24" y="55"/>
                      <a:pt x="24" y="55"/>
                      <a:pt x="24" y="55"/>
                    </a:cubicBezTo>
                    <a:cubicBezTo>
                      <a:pt x="30" y="52"/>
                      <a:pt x="30" y="52"/>
                      <a:pt x="30" y="52"/>
                    </a:cubicBezTo>
                    <a:cubicBezTo>
                      <a:pt x="31" y="48"/>
                      <a:pt x="31" y="48"/>
                      <a:pt x="31" y="48"/>
                    </a:cubicBezTo>
                    <a:cubicBezTo>
                      <a:pt x="36" y="43"/>
                      <a:pt x="36" y="43"/>
                      <a:pt x="36" y="43"/>
                    </a:cubicBezTo>
                    <a:cubicBezTo>
                      <a:pt x="37" y="43"/>
                      <a:pt x="37" y="43"/>
                      <a:pt x="37" y="43"/>
                    </a:cubicBezTo>
                    <a:cubicBezTo>
                      <a:pt x="37" y="43"/>
                      <a:pt x="37" y="44"/>
                      <a:pt x="38" y="44"/>
                    </a:cubicBezTo>
                    <a:cubicBezTo>
                      <a:pt x="39" y="44"/>
                      <a:pt x="41" y="45"/>
                      <a:pt x="41" y="45"/>
                    </a:cubicBezTo>
                    <a:cubicBezTo>
                      <a:pt x="44" y="40"/>
                      <a:pt x="44" y="40"/>
                      <a:pt x="44" y="40"/>
                    </a:cubicBezTo>
                    <a:cubicBezTo>
                      <a:pt x="46" y="39"/>
                      <a:pt x="46" y="39"/>
                      <a:pt x="46" y="39"/>
                    </a:cubicBezTo>
                    <a:cubicBezTo>
                      <a:pt x="49" y="40"/>
                      <a:pt x="49" y="40"/>
                      <a:pt x="49" y="40"/>
                    </a:cubicBezTo>
                    <a:cubicBezTo>
                      <a:pt x="52" y="35"/>
                      <a:pt x="52" y="35"/>
                      <a:pt x="52" y="35"/>
                    </a:cubicBezTo>
                    <a:cubicBezTo>
                      <a:pt x="55" y="31"/>
                      <a:pt x="55" y="31"/>
                      <a:pt x="55" y="31"/>
                    </a:cubicBezTo>
                    <a:cubicBezTo>
                      <a:pt x="56" y="29"/>
                      <a:pt x="56" y="29"/>
                      <a:pt x="56" y="29"/>
                    </a:cubicBezTo>
                    <a:cubicBezTo>
                      <a:pt x="56" y="23"/>
                      <a:pt x="56" y="23"/>
                      <a:pt x="56" y="23"/>
                    </a:cubicBezTo>
                    <a:cubicBezTo>
                      <a:pt x="62" y="24"/>
                      <a:pt x="62" y="24"/>
                      <a:pt x="62" y="24"/>
                    </a:cubicBezTo>
                    <a:cubicBezTo>
                      <a:pt x="72" y="23"/>
                      <a:pt x="72" y="23"/>
                      <a:pt x="72" y="23"/>
                    </a:cubicBezTo>
                    <a:cubicBezTo>
                      <a:pt x="93" y="20"/>
                      <a:pt x="93" y="20"/>
                      <a:pt x="93" y="20"/>
                    </a:cubicBezTo>
                    <a:cubicBezTo>
                      <a:pt x="116" y="16"/>
                      <a:pt x="116" y="16"/>
                      <a:pt x="116" y="16"/>
                    </a:cubicBezTo>
                    <a:cubicBezTo>
                      <a:pt x="142" y="11"/>
                      <a:pt x="142" y="11"/>
                      <a:pt x="142" y="11"/>
                    </a:cubicBezTo>
                    <a:cubicBezTo>
                      <a:pt x="168" y="6"/>
                      <a:pt x="168" y="6"/>
                      <a:pt x="168" y="6"/>
                    </a:cubicBezTo>
                    <a:cubicBezTo>
                      <a:pt x="184" y="2"/>
                      <a:pt x="184" y="2"/>
                      <a:pt x="184" y="2"/>
                    </a:cubicBezTo>
                    <a:lnTo>
                      <a:pt x="190" y="0"/>
                    </a:lnTo>
                    <a:close/>
                    <a:moveTo>
                      <a:pt x="196" y="44"/>
                    </a:moveTo>
                    <a:cubicBezTo>
                      <a:pt x="199" y="41"/>
                      <a:pt x="199" y="41"/>
                      <a:pt x="199" y="41"/>
                    </a:cubicBezTo>
                    <a:cubicBezTo>
                      <a:pt x="203" y="37"/>
                      <a:pt x="203" y="37"/>
                      <a:pt x="203" y="37"/>
                    </a:cubicBezTo>
                    <a:cubicBezTo>
                      <a:pt x="205" y="37"/>
                      <a:pt x="205" y="37"/>
                      <a:pt x="205" y="37"/>
                    </a:cubicBezTo>
                    <a:cubicBezTo>
                      <a:pt x="206" y="34"/>
                      <a:pt x="206" y="34"/>
                      <a:pt x="206" y="34"/>
                    </a:cubicBezTo>
                    <a:cubicBezTo>
                      <a:pt x="205" y="26"/>
                      <a:pt x="205" y="26"/>
                      <a:pt x="205" y="26"/>
                    </a:cubicBezTo>
                    <a:cubicBezTo>
                      <a:pt x="203" y="23"/>
                      <a:pt x="203" y="23"/>
                      <a:pt x="203" y="23"/>
                    </a:cubicBezTo>
                    <a:cubicBezTo>
                      <a:pt x="202" y="20"/>
                      <a:pt x="202" y="20"/>
                      <a:pt x="202" y="20"/>
                    </a:cubicBezTo>
                    <a:cubicBezTo>
                      <a:pt x="203" y="20"/>
                      <a:pt x="203" y="20"/>
                      <a:pt x="203" y="20"/>
                    </a:cubicBezTo>
                    <a:cubicBezTo>
                      <a:pt x="207" y="27"/>
                      <a:pt x="207" y="27"/>
                      <a:pt x="207" y="27"/>
                    </a:cubicBezTo>
                    <a:cubicBezTo>
                      <a:pt x="207" y="33"/>
                      <a:pt x="207" y="33"/>
                      <a:pt x="207" y="33"/>
                    </a:cubicBezTo>
                    <a:cubicBezTo>
                      <a:pt x="207" y="38"/>
                      <a:pt x="207" y="38"/>
                      <a:pt x="207" y="38"/>
                    </a:cubicBezTo>
                    <a:cubicBezTo>
                      <a:pt x="202" y="40"/>
                      <a:pt x="202" y="40"/>
                      <a:pt x="202" y="40"/>
                    </a:cubicBezTo>
                    <a:cubicBezTo>
                      <a:pt x="199" y="43"/>
                      <a:pt x="199" y="43"/>
                      <a:pt x="199" y="43"/>
                    </a:cubicBezTo>
                    <a:cubicBezTo>
                      <a:pt x="197" y="44"/>
                      <a:pt x="197" y="44"/>
                      <a:pt x="197" y="44"/>
                    </a:cubicBezTo>
                    <a:lnTo>
                      <a:pt x="196" y="44"/>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6" name="Freeform 12">
                <a:extLst/>
              </p:cNvPr>
              <p:cNvSpPr>
                <a:spLocks/>
              </p:cNvSpPr>
              <p:nvPr/>
            </p:nvSpPr>
            <p:spPr bwMode="auto">
              <a:xfrm>
                <a:off x="7326313" y="3617913"/>
                <a:ext cx="1698625" cy="585788"/>
              </a:xfrm>
              <a:custGeom>
                <a:avLst/>
                <a:gdLst>
                  <a:gd name="T0" fmla="*/ 149 w 194"/>
                  <a:gd name="T1" fmla="*/ 7 h 67"/>
                  <a:gd name="T2" fmla="*/ 80 w 194"/>
                  <a:gd name="T3" fmla="*/ 14 h 67"/>
                  <a:gd name="T4" fmla="*/ 59 w 194"/>
                  <a:gd name="T5" fmla="*/ 16 h 67"/>
                  <a:gd name="T6" fmla="*/ 53 w 194"/>
                  <a:gd name="T7" fmla="*/ 17 h 67"/>
                  <a:gd name="T8" fmla="*/ 48 w 194"/>
                  <a:gd name="T9" fmla="*/ 17 h 67"/>
                  <a:gd name="T10" fmla="*/ 48 w 194"/>
                  <a:gd name="T11" fmla="*/ 22 h 67"/>
                  <a:gd name="T12" fmla="*/ 37 w 194"/>
                  <a:gd name="T13" fmla="*/ 22 h 67"/>
                  <a:gd name="T14" fmla="*/ 27 w 194"/>
                  <a:gd name="T15" fmla="*/ 23 h 67"/>
                  <a:gd name="T16" fmla="*/ 13 w 194"/>
                  <a:gd name="T17" fmla="*/ 23 h 67"/>
                  <a:gd name="T18" fmla="*/ 12 w 194"/>
                  <a:gd name="T19" fmla="*/ 31 h 67"/>
                  <a:gd name="T20" fmla="*/ 9 w 194"/>
                  <a:gd name="T21" fmla="*/ 39 h 67"/>
                  <a:gd name="T22" fmla="*/ 8 w 194"/>
                  <a:gd name="T23" fmla="*/ 43 h 67"/>
                  <a:gd name="T24" fmla="*/ 6 w 194"/>
                  <a:gd name="T25" fmla="*/ 49 h 67"/>
                  <a:gd name="T26" fmla="*/ 6 w 194"/>
                  <a:gd name="T27" fmla="*/ 53 h 67"/>
                  <a:gd name="T28" fmla="*/ 0 w 194"/>
                  <a:gd name="T29" fmla="*/ 56 h 67"/>
                  <a:gd name="T30" fmla="*/ 2 w 194"/>
                  <a:gd name="T31" fmla="*/ 61 h 67"/>
                  <a:gd name="T32" fmla="*/ 1 w 194"/>
                  <a:gd name="T33" fmla="*/ 66 h 67"/>
                  <a:gd name="T34" fmla="*/ 0 w 194"/>
                  <a:gd name="T35" fmla="*/ 67 h 67"/>
                  <a:gd name="T36" fmla="*/ 9 w 194"/>
                  <a:gd name="T37" fmla="*/ 67 h 67"/>
                  <a:gd name="T38" fmla="*/ 42 w 194"/>
                  <a:gd name="T39" fmla="*/ 65 h 67"/>
                  <a:gd name="T40" fmla="*/ 49 w 194"/>
                  <a:gd name="T41" fmla="*/ 64 h 67"/>
                  <a:gd name="T42" fmla="*/ 59 w 194"/>
                  <a:gd name="T43" fmla="*/ 64 h 67"/>
                  <a:gd name="T44" fmla="*/ 97 w 194"/>
                  <a:gd name="T45" fmla="*/ 60 h 67"/>
                  <a:gd name="T46" fmla="*/ 110 w 194"/>
                  <a:gd name="T47" fmla="*/ 59 h 67"/>
                  <a:gd name="T48" fmla="*/ 121 w 194"/>
                  <a:gd name="T49" fmla="*/ 58 h 67"/>
                  <a:gd name="T50" fmla="*/ 133 w 194"/>
                  <a:gd name="T51" fmla="*/ 56 h 67"/>
                  <a:gd name="T52" fmla="*/ 139 w 194"/>
                  <a:gd name="T53" fmla="*/ 55 h 67"/>
                  <a:gd name="T54" fmla="*/ 139 w 194"/>
                  <a:gd name="T55" fmla="*/ 49 h 67"/>
                  <a:gd name="T56" fmla="*/ 141 w 194"/>
                  <a:gd name="T57" fmla="*/ 47 h 67"/>
                  <a:gd name="T58" fmla="*/ 145 w 194"/>
                  <a:gd name="T59" fmla="*/ 46 h 67"/>
                  <a:gd name="T60" fmla="*/ 146 w 194"/>
                  <a:gd name="T61" fmla="*/ 41 h 67"/>
                  <a:gd name="T62" fmla="*/ 151 w 194"/>
                  <a:gd name="T63" fmla="*/ 38 h 67"/>
                  <a:gd name="T64" fmla="*/ 157 w 194"/>
                  <a:gd name="T65" fmla="*/ 36 h 67"/>
                  <a:gd name="T66" fmla="*/ 162 w 194"/>
                  <a:gd name="T67" fmla="*/ 31 h 67"/>
                  <a:gd name="T68" fmla="*/ 168 w 194"/>
                  <a:gd name="T69" fmla="*/ 28 h 67"/>
                  <a:gd name="T70" fmla="*/ 169 w 194"/>
                  <a:gd name="T71" fmla="*/ 24 h 67"/>
                  <a:gd name="T72" fmla="*/ 175 w 194"/>
                  <a:gd name="T73" fmla="*/ 18 h 67"/>
                  <a:gd name="T74" fmla="*/ 176 w 194"/>
                  <a:gd name="T75" fmla="*/ 18 h 67"/>
                  <a:gd name="T76" fmla="*/ 177 w 194"/>
                  <a:gd name="T77" fmla="*/ 20 h 67"/>
                  <a:gd name="T78" fmla="*/ 179 w 194"/>
                  <a:gd name="T79" fmla="*/ 20 h 67"/>
                  <a:gd name="T80" fmla="*/ 182 w 194"/>
                  <a:gd name="T81" fmla="*/ 15 h 67"/>
                  <a:gd name="T82" fmla="*/ 185 w 194"/>
                  <a:gd name="T83" fmla="*/ 15 h 67"/>
                  <a:gd name="T84" fmla="*/ 188 w 194"/>
                  <a:gd name="T85" fmla="*/ 15 h 67"/>
                  <a:gd name="T86" fmla="*/ 190 w 194"/>
                  <a:gd name="T87" fmla="*/ 10 h 67"/>
                  <a:gd name="T88" fmla="*/ 193 w 194"/>
                  <a:gd name="T89" fmla="*/ 7 h 67"/>
                  <a:gd name="T90" fmla="*/ 194 w 194"/>
                  <a:gd name="T91" fmla="*/ 6 h 67"/>
                  <a:gd name="T92" fmla="*/ 194 w 194"/>
                  <a:gd name="T93" fmla="*/ 1 h 67"/>
                  <a:gd name="T94" fmla="*/ 192 w 194"/>
                  <a:gd name="T95" fmla="*/ 0 h 67"/>
                  <a:gd name="T96" fmla="*/ 189 w 194"/>
                  <a:gd name="T97" fmla="*/ 3 h 67"/>
                  <a:gd name="T98" fmla="*/ 179 w 194"/>
                  <a:gd name="T99" fmla="*/ 3 h 67"/>
                  <a:gd name="T100" fmla="*/ 163 w 194"/>
                  <a:gd name="T101" fmla="*/ 6 h 67"/>
                  <a:gd name="T102" fmla="*/ 149 w 194"/>
                  <a:gd name="T103" fmla="*/ 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4" h="67">
                    <a:moveTo>
                      <a:pt x="149" y="7"/>
                    </a:moveTo>
                    <a:cubicBezTo>
                      <a:pt x="80" y="14"/>
                      <a:pt x="80" y="14"/>
                      <a:pt x="80" y="14"/>
                    </a:cubicBezTo>
                    <a:cubicBezTo>
                      <a:pt x="59" y="16"/>
                      <a:pt x="59" y="16"/>
                      <a:pt x="59" y="16"/>
                    </a:cubicBezTo>
                    <a:cubicBezTo>
                      <a:pt x="53" y="17"/>
                      <a:pt x="53" y="17"/>
                      <a:pt x="53" y="17"/>
                    </a:cubicBezTo>
                    <a:cubicBezTo>
                      <a:pt x="48" y="17"/>
                      <a:pt x="48" y="17"/>
                      <a:pt x="48" y="17"/>
                    </a:cubicBezTo>
                    <a:cubicBezTo>
                      <a:pt x="48" y="22"/>
                      <a:pt x="48" y="22"/>
                      <a:pt x="48" y="22"/>
                    </a:cubicBezTo>
                    <a:cubicBezTo>
                      <a:pt x="37" y="22"/>
                      <a:pt x="37" y="22"/>
                      <a:pt x="37" y="22"/>
                    </a:cubicBezTo>
                    <a:cubicBezTo>
                      <a:pt x="27" y="23"/>
                      <a:pt x="27" y="23"/>
                      <a:pt x="27" y="23"/>
                    </a:cubicBezTo>
                    <a:cubicBezTo>
                      <a:pt x="13" y="23"/>
                      <a:pt x="13" y="23"/>
                      <a:pt x="13" y="23"/>
                    </a:cubicBezTo>
                    <a:cubicBezTo>
                      <a:pt x="12" y="31"/>
                      <a:pt x="12" y="31"/>
                      <a:pt x="12" y="31"/>
                    </a:cubicBezTo>
                    <a:cubicBezTo>
                      <a:pt x="9" y="39"/>
                      <a:pt x="9" y="39"/>
                      <a:pt x="9" y="39"/>
                    </a:cubicBezTo>
                    <a:cubicBezTo>
                      <a:pt x="8" y="43"/>
                      <a:pt x="8" y="43"/>
                      <a:pt x="8" y="43"/>
                    </a:cubicBezTo>
                    <a:cubicBezTo>
                      <a:pt x="6" y="49"/>
                      <a:pt x="6" y="49"/>
                      <a:pt x="6" y="49"/>
                    </a:cubicBezTo>
                    <a:cubicBezTo>
                      <a:pt x="6" y="53"/>
                      <a:pt x="6" y="53"/>
                      <a:pt x="6" y="53"/>
                    </a:cubicBezTo>
                    <a:cubicBezTo>
                      <a:pt x="0" y="56"/>
                      <a:pt x="0" y="56"/>
                      <a:pt x="0" y="56"/>
                    </a:cubicBezTo>
                    <a:cubicBezTo>
                      <a:pt x="2" y="61"/>
                      <a:pt x="2" y="61"/>
                      <a:pt x="2" y="61"/>
                    </a:cubicBezTo>
                    <a:cubicBezTo>
                      <a:pt x="1" y="66"/>
                      <a:pt x="1" y="66"/>
                      <a:pt x="1" y="66"/>
                    </a:cubicBezTo>
                    <a:cubicBezTo>
                      <a:pt x="0" y="67"/>
                      <a:pt x="0" y="67"/>
                      <a:pt x="0" y="67"/>
                    </a:cubicBezTo>
                    <a:cubicBezTo>
                      <a:pt x="9" y="67"/>
                      <a:pt x="9" y="67"/>
                      <a:pt x="9" y="67"/>
                    </a:cubicBezTo>
                    <a:cubicBezTo>
                      <a:pt x="42" y="65"/>
                      <a:pt x="42" y="65"/>
                      <a:pt x="42" y="65"/>
                    </a:cubicBezTo>
                    <a:cubicBezTo>
                      <a:pt x="49" y="64"/>
                      <a:pt x="49" y="64"/>
                      <a:pt x="49" y="64"/>
                    </a:cubicBezTo>
                    <a:cubicBezTo>
                      <a:pt x="59" y="64"/>
                      <a:pt x="59" y="64"/>
                      <a:pt x="59" y="64"/>
                    </a:cubicBezTo>
                    <a:cubicBezTo>
                      <a:pt x="97" y="60"/>
                      <a:pt x="97" y="60"/>
                      <a:pt x="97" y="60"/>
                    </a:cubicBezTo>
                    <a:cubicBezTo>
                      <a:pt x="110" y="59"/>
                      <a:pt x="110" y="59"/>
                      <a:pt x="110" y="59"/>
                    </a:cubicBezTo>
                    <a:cubicBezTo>
                      <a:pt x="121" y="58"/>
                      <a:pt x="121" y="58"/>
                      <a:pt x="121" y="58"/>
                    </a:cubicBezTo>
                    <a:cubicBezTo>
                      <a:pt x="133" y="56"/>
                      <a:pt x="133" y="56"/>
                      <a:pt x="133" y="56"/>
                    </a:cubicBezTo>
                    <a:cubicBezTo>
                      <a:pt x="139" y="55"/>
                      <a:pt x="139" y="55"/>
                      <a:pt x="139" y="55"/>
                    </a:cubicBezTo>
                    <a:cubicBezTo>
                      <a:pt x="139" y="49"/>
                      <a:pt x="139" y="49"/>
                      <a:pt x="139" y="49"/>
                    </a:cubicBezTo>
                    <a:cubicBezTo>
                      <a:pt x="141" y="47"/>
                      <a:pt x="141" y="47"/>
                      <a:pt x="141" y="47"/>
                    </a:cubicBezTo>
                    <a:cubicBezTo>
                      <a:pt x="145" y="46"/>
                      <a:pt x="145" y="46"/>
                      <a:pt x="145" y="46"/>
                    </a:cubicBezTo>
                    <a:cubicBezTo>
                      <a:pt x="146" y="41"/>
                      <a:pt x="146" y="41"/>
                      <a:pt x="146" y="41"/>
                    </a:cubicBezTo>
                    <a:cubicBezTo>
                      <a:pt x="151" y="38"/>
                      <a:pt x="151" y="38"/>
                      <a:pt x="151" y="38"/>
                    </a:cubicBezTo>
                    <a:cubicBezTo>
                      <a:pt x="157" y="36"/>
                      <a:pt x="157" y="36"/>
                      <a:pt x="157" y="36"/>
                    </a:cubicBezTo>
                    <a:cubicBezTo>
                      <a:pt x="162" y="31"/>
                      <a:pt x="162" y="31"/>
                      <a:pt x="162" y="31"/>
                    </a:cubicBezTo>
                    <a:cubicBezTo>
                      <a:pt x="168" y="28"/>
                      <a:pt x="168" y="28"/>
                      <a:pt x="168" y="28"/>
                    </a:cubicBezTo>
                    <a:cubicBezTo>
                      <a:pt x="169" y="24"/>
                      <a:pt x="169" y="24"/>
                      <a:pt x="169" y="24"/>
                    </a:cubicBezTo>
                    <a:cubicBezTo>
                      <a:pt x="175" y="18"/>
                      <a:pt x="175" y="18"/>
                      <a:pt x="175" y="18"/>
                    </a:cubicBezTo>
                    <a:cubicBezTo>
                      <a:pt x="176" y="18"/>
                      <a:pt x="176" y="18"/>
                      <a:pt x="176" y="18"/>
                    </a:cubicBezTo>
                    <a:cubicBezTo>
                      <a:pt x="176" y="18"/>
                      <a:pt x="176" y="20"/>
                      <a:pt x="177" y="20"/>
                    </a:cubicBezTo>
                    <a:cubicBezTo>
                      <a:pt x="178" y="20"/>
                      <a:pt x="179" y="20"/>
                      <a:pt x="179" y="20"/>
                    </a:cubicBezTo>
                    <a:cubicBezTo>
                      <a:pt x="182" y="15"/>
                      <a:pt x="182" y="15"/>
                      <a:pt x="182" y="15"/>
                    </a:cubicBezTo>
                    <a:cubicBezTo>
                      <a:pt x="185" y="15"/>
                      <a:pt x="185" y="15"/>
                      <a:pt x="185" y="15"/>
                    </a:cubicBezTo>
                    <a:cubicBezTo>
                      <a:pt x="188" y="15"/>
                      <a:pt x="188" y="15"/>
                      <a:pt x="188" y="15"/>
                    </a:cubicBezTo>
                    <a:cubicBezTo>
                      <a:pt x="190" y="10"/>
                      <a:pt x="190" y="10"/>
                      <a:pt x="190" y="10"/>
                    </a:cubicBezTo>
                    <a:cubicBezTo>
                      <a:pt x="193" y="7"/>
                      <a:pt x="193" y="7"/>
                      <a:pt x="193" y="7"/>
                    </a:cubicBezTo>
                    <a:cubicBezTo>
                      <a:pt x="194" y="6"/>
                      <a:pt x="194" y="6"/>
                      <a:pt x="194" y="6"/>
                    </a:cubicBezTo>
                    <a:cubicBezTo>
                      <a:pt x="194" y="1"/>
                      <a:pt x="194" y="1"/>
                      <a:pt x="194" y="1"/>
                    </a:cubicBezTo>
                    <a:cubicBezTo>
                      <a:pt x="192" y="0"/>
                      <a:pt x="192" y="0"/>
                      <a:pt x="192" y="0"/>
                    </a:cubicBezTo>
                    <a:cubicBezTo>
                      <a:pt x="189" y="3"/>
                      <a:pt x="189" y="3"/>
                      <a:pt x="189" y="3"/>
                    </a:cubicBezTo>
                    <a:cubicBezTo>
                      <a:pt x="179" y="3"/>
                      <a:pt x="179" y="3"/>
                      <a:pt x="179" y="3"/>
                    </a:cubicBezTo>
                    <a:cubicBezTo>
                      <a:pt x="163" y="6"/>
                      <a:pt x="163" y="6"/>
                      <a:pt x="163" y="6"/>
                    </a:cubicBezTo>
                    <a:lnTo>
                      <a:pt x="149" y="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7" name="Freeform 13">
                <a:extLst/>
              </p:cNvPr>
              <p:cNvSpPr>
                <a:spLocks/>
              </p:cNvSpPr>
              <p:nvPr/>
            </p:nvSpPr>
            <p:spPr bwMode="auto">
              <a:xfrm>
                <a:off x="10661650" y="1847850"/>
                <a:ext cx="166688" cy="184150"/>
              </a:xfrm>
              <a:custGeom>
                <a:avLst/>
                <a:gdLst>
                  <a:gd name="T0" fmla="*/ 22 w 105"/>
                  <a:gd name="T1" fmla="*/ 116 h 116"/>
                  <a:gd name="T2" fmla="*/ 22 w 105"/>
                  <a:gd name="T3" fmla="*/ 83 h 116"/>
                  <a:gd name="T4" fmla="*/ 16 w 105"/>
                  <a:gd name="T5" fmla="*/ 55 h 116"/>
                  <a:gd name="T6" fmla="*/ 0 w 105"/>
                  <a:gd name="T7" fmla="*/ 11 h 116"/>
                  <a:gd name="T8" fmla="*/ 44 w 105"/>
                  <a:gd name="T9" fmla="*/ 0 h 116"/>
                  <a:gd name="T10" fmla="*/ 55 w 105"/>
                  <a:gd name="T11" fmla="*/ 6 h 116"/>
                  <a:gd name="T12" fmla="*/ 83 w 105"/>
                  <a:gd name="T13" fmla="*/ 39 h 116"/>
                  <a:gd name="T14" fmla="*/ 105 w 105"/>
                  <a:gd name="T15" fmla="*/ 72 h 116"/>
                  <a:gd name="T16" fmla="*/ 83 w 105"/>
                  <a:gd name="T17" fmla="*/ 83 h 116"/>
                  <a:gd name="T18" fmla="*/ 72 w 105"/>
                  <a:gd name="T19" fmla="*/ 83 h 116"/>
                  <a:gd name="T20" fmla="*/ 66 w 105"/>
                  <a:gd name="T21" fmla="*/ 94 h 116"/>
                  <a:gd name="T22" fmla="*/ 44 w 105"/>
                  <a:gd name="T23" fmla="*/ 111 h 116"/>
                  <a:gd name="T24" fmla="*/ 22 w 105"/>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16">
                    <a:moveTo>
                      <a:pt x="22" y="116"/>
                    </a:moveTo>
                    <a:lnTo>
                      <a:pt x="22" y="83"/>
                    </a:lnTo>
                    <a:lnTo>
                      <a:pt x="16" y="55"/>
                    </a:lnTo>
                    <a:lnTo>
                      <a:pt x="0" y="11"/>
                    </a:lnTo>
                    <a:lnTo>
                      <a:pt x="44" y="0"/>
                    </a:lnTo>
                    <a:lnTo>
                      <a:pt x="55" y="6"/>
                    </a:lnTo>
                    <a:lnTo>
                      <a:pt x="83" y="39"/>
                    </a:lnTo>
                    <a:lnTo>
                      <a:pt x="105" y="72"/>
                    </a:lnTo>
                    <a:lnTo>
                      <a:pt x="83" y="83"/>
                    </a:lnTo>
                    <a:lnTo>
                      <a:pt x="72" y="83"/>
                    </a:lnTo>
                    <a:lnTo>
                      <a:pt x="66" y="94"/>
                    </a:lnTo>
                    <a:lnTo>
                      <a:pt x="44" y="111"/>
                    </a:lnTo>
                    <a:lnTo>
                      <a:pt x="22" y="116"/>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8" name="Freeform 14">
                <a:extLst/>
              </p:cNvPr>
              <p:cNvSpPr>
                <a:spLocks/>
              </p:cNvSpPr>
              <p:nvPr/>
            </p:nvSpPr>
            <p:spPr bwMode="auto">
              <a:xfrm>
                <a:off x="10355263" y="1865313"/>
                <a:ext cx="331788" cy="333375"/>
              </a:xfrm>
              <a:custGeom>
                <a:avLst/>
                <a:gdLst>
                  <a:gd name="T0" fmla="*/ 209 w 209"/>
                  <a:gd name="T1" fmla="*/ 105 h 210"/>
                  <a:gd name="T2" fmla="*/ 204 w 209"/>
                  <a:gd name="T3" fmla="*/ 78 h 210"/>
                  <a:gd name="T4" fmla="*/ 198 w 209"/>
                  <a:gd name="T5" fmla="*/ 44 h 210"/>
                  <a:gd name="T6" fmla="*/ 187 w 209"/>
                  <a:gd name="T7" fmla="*/ 0 h 210"/>
                  <a:gd name="T8" fmla="*/ 160 w 209"/>
                  <a:gd name="T9" fmla="*/ 6 h 210"/>
                  <a:gd name="T10" fmla="*/ 0 w 209"/>
                  <a:gd name="T11" fmla="*/ 44 h 210"/>
                  <a:gd name="T12" fmla="*/ 0 w 209"/>
                  <a:gd name="T13" fmla="*/ 66 h 210"/>
                  <a:gd name="T14" fmla="*/ 11 w 209"/>
                  <a:gd name="T15" fmla="*/ 122 h 210"/>
                  <a:gd name="T16" fmla="*/ 11 w 209"/>
                  <a:gd name="T17" fmla="*/ 177 h 210"/>
                  <a:gd name="T18" fmla="*/ 5 w 209"/>
                  <a:gd name="T19" fmla="*/ 193 h 210"/>
                  <a:gd name="T20" fmla="*/ 16 w 209"/>
                  <a:gd name="T21" fmla="*/ 210 h 210"/>
                  <a:gd name="T22" fmla="*/ 55 w 209"/>
                  <a:gd name="T23" fmla="*/ 188 h 210"/>
                  <a:gd name="T24" fmla="*/ 83 w 209"/>
                  <a:gd name="T25" fmla="*/ 160 h 210"/>
                  <a:gd name="T26" fmla="*/ 94 w 209"/>
                  <a:gd name="T27" fmla="*/ 149 h 210"/>
                  <a:gd name="T28" fmla="*/ 99 w 209"/>
                  <a:gd name="T29" fmla="*/ 155 h 210"/>
                  <a:gd name="T30" fmla="*/ 121 w 209"/>
                  <a:gd name="T31" fmla="*/ 144 h 210"/>
                  <a:gd name="T32" fmla="*/ 160 w 209"/>
                  <a:gd name="T33" fmla="*/ 133 h 210"/>
                  <a:gd name="T34" fmla="*/ 209 w 209"/>
                  <a:gd name="T35"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9" h="210">
                    <a:moveTo>
                      <a:pt x="209" y="105"/>
                    </a:moveTo>
                    <a:lnTo>
                      <a:pt x="204" y="78"/>
                    </a:lnTo>
                    <a:lnTo>
                      <a:pt x="198" y="44"/>
                    </a:lnTo>
                    <a:lnTo>
                      <a:pt x="187" y="0"/>
                    </a:lnTo>
                    <a:lnTo>
                      <a:pt x="160" y="6"/>
                    </a:lnTo>
                    <a:lnTo>
                      <a:pt x="0" y="44"/>
                    </a:lnTo>
                    <a:lnTo>
                      <a:pt x="0" y="66"/>
                    </a:lnTo>
                    <a:lnTo>
                      <a:pt x="11" y="122"/>
                    </a:lnTo>
                    <a:lnTo>
                      <a:pt x="11" y="177"/>
                    </a:lnTo>
                    <a:lnTo>
                      <a:pt x="5" y="193"/>
                    </a:lnTo>
                    <a:lnTo>
                      <a:pt x="16" y="210"/>
                    </a:lnTo>
                    <a:lnTo>
                      <a:pt x="55" y="188"/>
                    </a:lnTo>
                    <a:lnTo>
                      <a:pt x="83" y="160"/>
                    </a:lnTo>
                    <a:lnTo>
                      <a:pt x="94" y="149"/>
                    </a:lnTo>
                    <a:lnTo>
                      <a:pt x="99" y="155"/>
                    </a:lnTo>
                    <a:lnTo>
                      <a:pt x="121" y="144"/>
                    </a:lnTo>
                    <a:lnTo>
                      <a:pt x="160" y="133"/>
                    </a:lnTo>
                    <a:lnTo>
                      <a:pt x="209" y="1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9" name="Freeform 15">
                <a:extLst/>
              </p:cNvPr>
              <p:cNvSpPr>
                <a:spLocks noEditPoints="1"/>
              </p:cNvSpPr>
              <p:nvPr/>
            </p:nvSpPr>
            <p:spPr bwMode="auto">
              <a:xfrm>
                <a:off x="10337800" y="1603375"/>
                <a:ext cx="717550" cy="376238"/>
              </a:xfrm>
              <a:custGeom>
                <a:avLst/>
                <a:gdLst>
                  <a:gd name="T0" fmla="*/ 419 w 452"/>
                  <a:gd name="T1" fmla="*/ 226 h 237"/>
                  <a:gd name="T2" fmla="*/ 436 w 452"/>
                  <a:gd name="T3" fmla="*/ 220 h 237"/>
                  <a:gd name="T4" fmla="*/ 436 w 452"/>
                  <a:gd name="T5" fmla="*/ 209 h 237"/>
                  <a:gd name="T6" fmla="*/ 447 w 452"/>
                  <a:gd name="T7" fmla="*/ 209 h 237"/>
                  <a:gd name="T8" fmla="*/ 452 w 452"/>
                  <a:gd name="T9" fmla="*/ 226 h 237"/>
                  <a:gd name="T10" fmla="*/ 447 w 452"/>
                  <a:gd name="T11" fmla="*/ 231 h 237"/>
                  <a:gd name="T12" fmla="*/ 413 w 452"/>
                  <a:gd name="T13" fmla="*/ 231 h 237"/>
                  <a:gd name="T14" fmla="*/ 419 w 452"/>
                  <a:gd name="T15" fmla="*/ 226 h 237"/>
                  <a:gd name="T16" fmla="*/ 347 w 452"/>
                  <a:gd name="T17" fmla="*/ 231 h 237"/>
                  <a:gd name="T18" fmla="*/ 369 w 452"/>
                  <a:gd name="T19" fmla="*/ 215 h 237"/>
                  <a:gd name="T20" fmla="*/ 380 w 452"/>
                  <a:gd name="T21" fmla="*/ 215 h 237"/>
                  <a:gd name="T22" fmla="*/ 391 w 452"/>
                  <a:gd name="T23" fmla="*/ 226 h 237"/>
                  <a:gd name="T24" fmla="*/ 375 w 452"/>
                  <a:gd name="T25" fmla="*/ 231 h 237"/>
                  <a:gd name="T26" fmla="*/ 358 w 452"/>
                  <a:gd name="T27" fmla="*/ 237 h 237"/>
                  <a:gd name="T28" fmla="*/ 347 w 452"/>
                  <a:gd name="T29" fmla="*/ 231 h 237"/>
                  <a:gd name="T30" fmla="*/ 94 w 452"/>
                  <a:gd name="T31" fmla="*/ 71 h 237"/>
                  <a:gd name="T32" fmla="*/ 220 w 452"/>
                  <a:gd name="T33" fmla="*/ 38 h 237"/>
                  <a:gd name="T34" fmla="*/ 237 w 452"/>
                  <a:gd name="T35" fmla="*/ 33 h 237"/>
                  <a:gd name="T36" fmla="*/ 254 w 452"/>
                  <a:gd name="T37" fmla="*/ 11 h 237"/>
                  <a:gd name="T38" fmla="*/ 281 w 452"/>
                  <a:gd name="T39" fmla="*/ 0 h 237"/>
                  <a:gd name="T40" fmla="*/ 303 w 452"/>
                  <a:gd name="T41" fmla="*/ 33 h 237"/>
                  <a:gd name="T42" fmla="*/ 287 w 452"/>
                  <a:gd name="T43" fmla="*/ 71 h 237"/>
                  <a:gd name="T44" fmla="*/ 281 w 452"/>
                  <a:gd name="T45" fmla="*/ 83 h 237"/>
                  <a:gd name="T46" fmla="*/ 298 w 452"/>
                  <a:gd name="T47" fmla="*/ 99 h 237"/>
                  <a:gd name="T48" fmla="*/ 303 w 452"/>
                  <a:gd name="T49" fmla="*/ 94 h 237"/>
                  <a:gd name="T50" fmla="*/ 320 w 452"/>
                  <a:gd name="T51" fmla="*/ 94 h 237"/>
                  <a:gd name="T52" fmla="*/ 336 w 452"/>
                  <a:gd name="T53" fmla="*/ 110 h 237"/>
                  <a:gd name="T54" fmla="*/ 364 w 452"/>
                  <a:gd name="T55" fmla="*/ 154 h 237"/>
                  <a:gd name="T56" fmla="*/ 391 w 452"/>
                  <a:gd name="T57" fmla="*/ 160 h 237"/>
                  <a:gd name="T58" fmla="*/ 408 w 452"/>
                  <a:gd name="T59" fmla="*/ 154 h 237"/>
                  <a:gd name="T60" fmla="*/ 419 w 452"/>
                  <a:gd name="T61" fmla="*/ 138 h 237"/>
                  <a:gd name="T62" fmla="*/ 413 w 452"/>
                  <a:gd name="T63" fmla="*/ 121 h 237"/>
                  <a:gd name="T64" fmla="*/ 397 w 452"/>
                  <a:gd name="T65" fmla="*/ 110 h 237"/>
                  <a:gd name="T66" fmla="*/ 386 w 452"/>
                  <a:gd name="T67" fmla="*/ 116 h 237"/>
                  <a:gd name="T68" fmla="*/ 380 w 452"/>
                  <a:gd name="T69" fmla="*/ 105 h 237"/>
                  <a:gd name="T70" fmla="*/ 386 w 452"/>
                  <a:gd name="T71" fmla="*/ 99 h 237"/>
                  <a:gd name="T72" fmla="*/ 397 w 452"/>
                  <a:gd name="T73" fmla="*/ 99 h 237"/>
                  <a:gd name="T74" fmla="*/ 413 w 452"/>
                  <a:gd name="T75" fmla="*/ 105 h 237"/>
                  <a:gd name="T76" fmla="*/ 424 w 452"/>
                  <a:gd name="T77" fmla="*/ 121 h 237"/>
                  <a:gd name="T78" fmla="*/ 436 w 452"/>
                  <a:gd name="T79" fmla="*/ 143 h 237"/>
                  <a:gd name="T80" fmla="*/ 436 w 452"/>
                  <a:gd name="T81" fmla="*/ 160 h 237"/>
                  <a:gd name="T82" fmla="*/ 408 w 452"/>
                  <a:gd name="T83" fmla="*/ 171 h 237"/>
                  <a:gd name="T84" fmla="*/ 375 w 452"/>
                  <a:gd name="T85" fmla="*/ 187 h 237"/>
                  <a:gd name="T86" fmla="*/ 347 w 452"/>
                  <a:gd name="T87" fmla="*/ 220 h 237"/>
                  <a:gd name="T88" fmla="*/ 336 w 452"/>
                  <a:gd name="T89" fmla="*/ 231 h 237"/>
                  <a:gd name="T90" fmla="*/ 336 w 452"/>
                  <a:gd name="T91" fmla="*/ 226 h 237"/>
                  <a:gd name="T92" fmla="*/ 353 w 452"/>
                  <a:gd name="T93" fmla="*/ 215 h 237"/>
                  <a:gd name="T94" fmla="*/ 353 w 452"/>
                  <a:gd name="T95" fmla="*/ 198 h 237"/>
                  <a:gd name="T96" fmla="*/ 347 w 452"/>
                  <a:gd name="T97" fmla="*/ 176 h 237"/>
                  <a:gd name="T98" fmla="*/ 331 w 452"/>
                  <a:gd name="T99" fmla="*/ 187 h 237"/>
                  <a:gd name="T100" fmla="*/ 320 w 452"/>
                  <a:gd name="T101" fmla="*/ 198 h 237"/>
                  <a:gd name="T102" fmla="*/ 325 w 452"/>
                  <a:gd name="T103" fmla="*/ 215 h 237"/>
                  <a:gd name="T104" fmla="*/ 309 w 452"/>
                  <a:gd name="T105" fmla="*/ 226 h 237"/>
                  <a:gd name="T106" fmla="*/ 292 w 452"/>
                  <a:gd name="T107" fmla="*/ 187 h 237"/>
                  <a:gd name="T108" fmla="*/ 265 w 452"/>
                  <a:gd name="T109" fmla="*/ 160 h 237"/>
                  <a:gd name="T110" fmla="*/ 248 w 452"/>
                  <a:gd name="T111" fmla="*/ 143 h 237"/>
                  <a:gd name="T112" fmla="*/ 204 w 452"/>
                  <a:gd name="T113" fmla="*/ 160 h 237"/>
                  <a:gd name="T114" fmla="*/ 165 w 452"/>
                  <a:gd name="T115" fmla="*/ 165 h 237"/>
                  <a:gd name="T116" fmla="*/ 5 w 452"/>
                  <a:gd name="T117" fmla="*/ 204 h 237"/>
                  <a:gd name="T118" fmla="*/ 0 w 452"/>
                  <a:gd name="T119" fmla="*/ 165 h 237"/>
                  <a:gd name="T120" fmla="*/ 5 w 452"/>
                  <a:gd name="T121" fmla="*/ 88 h 237"/>
                  <a:gd name="T122" fmla="*/ 44 w 452"/>
                  <a:gd name="T123" fmla="*/ 83 h 237"/>
                  <a:gd name="T124" fmla="*/ 94 w 452"/>
                  <a:gd name="T125" fmla="*/ 7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237">
                    <a:moveTo>
                      <a:pt x="419" y="226"/>
                    </a:moveTo>
                    <a:lnTo>
                      <a:pt x="436" y="220"/>
                    </a:lnTo>
                    <a:lnTo>
                      <a:pt x="436" y="209"/>
                    </a:lnTo>
                    <a:lnTo>
                      <a:pt x="447" y="209"/>
                    </a:lnTo>
                    <a:lnTo>
                      <a:pt x="452" y="226"/>
                    </a:lnTo>
                    <a:lnTo>
                      <a:pt x="447" y="231"/>
                    </a:lnTo>
                    <a:lnTo>
                      <a:pt x="413" y="231"/>
                    </a:lnTo>
                    <a:lnTo>
                      <a:pt x="419" y="226"/>
                    </a:lnTo>
                    <a:close/>
                    <a:moveTo>
                      <a:pt x="347" y="231"/>
                    </a:moveTo>
                    <a:lnTo>
                      <a:pt x="369" y="215"/>
                    </a:lnTo>
                    <a:lnTo>
                      <a:pt x="380" y="215"/>
                    </a:lnTo>
                    <a:lnTo>
                      <a:pt x="391" y="226"/>
                    </a:lnTo>
                    <a:lnTo>
                      <a:pt x="375" y="231"/>
                    </a:lnTo>
                    <a:lnTo>
                      <a:pt x="358" y="237"/>
                    </a:lnTo>
                    <a:lnTo>
                      <a:pt x="347" y="231"/>
                    </a:lnTo>
                    <a:close/>
                    <a:moveTo>
                      <a:pt x="94" y="71"/>
                    </a:moveTo>
                    <a:lnTo>
                      <a:pt x="220" y="38"/>
                    </a:lnTo>
                    <a:lnTo>
                      <a:pt x="237" y="33"/>
                    </a:lnTo>
                    <a:lnTo>
                      <a:pt x="254" y="11"/>
                    </a:lnTo>
                    <a:lnTo>
                      <a:pt x="281" y="0"/>
                    </a:lnTo>
                    <a:lnTo>
                      <a:pt x="303" y="33"/>
                    </a:lnTo>
                    <a:lnTo>
                      <a:pt x="287" y="71"/>
                    </a:lnTo>
                    <a:lnTo>
                      <a:pt x="281" y="83"/>
                    </a:lnTo>
                    <a:lnTo>
                      <a:pt x="298" y="99"/>
                    </a:lnTo>
                    <a:lnTo>
                      <a:pt x="303" y="94"/>
                    </a:lnTo>
                    <a:lnTo>
                      <a:pt x="320" y="94"/>
                    </a:lnTo>
                    <a:lnTo>
                      <a:pt x="336" y="110"/>
                    </a:lnTo>
                    <a:lnTo>
                      <a:pt x="364" y="154"/>
                    </a:lnTo>
                    <a:lnTo>
                      <a:pt x="391" y="160"/>
                    </a:lnTo>
                    <a:lnTo>
                      <a:pt x="408" y="154"/>
                    </a:lnTo>
                    <a:lnTo>
                      <a:pt x="419" y="138"/>
                    </a:lnTo>
                    <a:lnTo>
                      <a:pt x="413" y="121"/>
                    </a:lnTo>
                    <a:lnTo>
                      <a:pt x="397" y="110"/>
                    </a:lnTo>
                    <a:lnTo>
                      <a:pt x="386" y="116"/>
                    </a:lnTo>
                    <a:lnTo>
                      <a:pt x="380" y="105"/>
                    </a:lnTo>
                    <a:lnTo>
                      <a:pt x="386" y="99"/>
                    </a:lnTo>
                    <a:lnTo>
                      <a:pt x="397" y="99"/>
                    </a:lnTo>
                    <a:lnTo>
                      <a:pt x="413" y="105"/>
                    </a:lnTo>
                    <a:lnTo>
                      <a:pt x="424" y="121"/>
                    </a:lnTo>
                    <a:lnTo>
                      <a:pt x="436" y="143"/>
                    </a:lnTo>
                    <a:lnTo>
                      <a:pt x="436" y="160"/>
                    </a:lnTo>
                    <a:lnTo>
                      <a:pt x="408" y="171"/>
                    </a:lnTo>
                    <a:lnTo>
                      <a:pt x="375" y="187"/>
                    </a:lnTo>
                    <a:lnTo>
                      <a:pt x="347" y="220"/>
                    </a:lnTo>
                    <a:lnTo>
                      <a:pt x="336" y="231"/>
                    </a:lnTo>
                    <a:lnTo>
                      <a:pt x="336" y="226"/>
                    </a:lnTo>
                    <a:lnTo>
                      <a:pt x="353" y="215"/>
                    </a:lnTo>
                    <a:lnTo>
                      <a:pt x="353" y="198"/>
                    </a:lnTo>
                    <a:lnTo>
                      <a:pt x="347" y="176"/>
                    </a:lnTo>
                    <a:lnTo>
                      <a:pt x="331" y="187"/>
                    </a:lnTo>
                    <a:lnTo>
                      <a:pt x="320" y="198"/>
                    </a:lnTo>
                    <a:lnTo>
                      <a:pt x="325" y="215"/>
                    </a:lnTo>
                    <a:lnTo>
                      <a:pt x="309" y="226"/>
                    </a:lnTo>
                    <a:lnTo>
                      <a:pt x="292" y="187"/>
                    </a:lnTo>
                    <a:lnTo>
                      <a:pt x="265" y="160"/>
                    </a:lnTo>
                    <a:lnTo>
                      <a:pt x="248" y="143"/>
                    </a:lnTo>
                    <a:lnTo>
                      <a:pt x="204" y="160"/>
                    </a:lnTo>
                    <a:lnTo>
                      <a:pt x="165" y="165"/>
                    </a:lnTo>
                    <a:lnTo>
                      <a:pt x="5" y="204"/>
                    </a:lnTo>
                    <a:lnTo>
                      <a:pt x="0" y="165"/>
                    </a:lnTo>
                    <a:lnTo>
                      <a:pt x="5" y="88"/>
                    </a:lnTo>
                    <a:lnTo>
                      <a:pt x="44" y="83"/>
                    </a:lnTo>
                    <a:lnTo>
                      <a:pt x="94" y="71"/>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0" name="Freeform 16">
                <a:extLst/>
              </p:cNvPr>
              <p:cNvSpPr>
                <a:spLocks noEditPoints="1"/>
              </p:cNvSpPr>
              <p:nvPr/>
            </p:nvSpPr>
            <p:spPr bwMode="auto">
              <a:xfrm>
                <a:off x="10591800" y="358775"/>
                <a:ext cx="735013" cy="1174750"/>
              </a:xfrm>
              <a:custGeom>
                <a:avLst/>
                <a:gdLst>
                  <a:gd name="T0" fmla="*/ 81 w 84"/>
                  <a:gd name="T1" fmla="*/ 57 h 134"/>
                  <a:gd name="T2" fmla="*/ 84 w 84"/>
                  <a:gd name="T3" fmla="*/ 65 h 134"/>
                  <a:gd name="T4" fmla="*/ 78 w 84"/>
                  <a:gd name="T5" fmla="*/ 72 h 134"/>
                  <a:gd name="T6" fmla="*/ 67 w 84"/>
                  <a:gd name="T7" fmla="*/ 83 h 134"/>
                  <a:gd name="T8" fmla="*/ 64 w 84"/>
                  <a:gd name="T9" fmla="*/ 81 h 134"/>
                  <a:gd name="T10" fmla="*/ 60 w 84"/>
                  <a:gd name="T11" fmla="*/ 83 h 134"/>
                  <a:gd name="T12" fmla="*/ 56 w 84"/>
                  <a:gd name="T13" fmla="*/ 87 h 134"/>
                  <a:gd name="T14" fmla="*/ 57 w 84"/>
                  <a:gd name="T15" fmla="*/ 89 h 134"/>
                  <a:gd name="T16" fmla="*/ 54 w 84"/>
                  <a:gd name="T17" fmla="*/ 93 h 134"/>
                  <a:gd name="T18" fmla="*/ 54 w 84"/>
                  <a:gd name="T19" fmla="*/ 89 h 134"/>
                  <a:gd name="T20" fmla="*/ 50 w 84"/>
                  <a:gd name="T21" fmla="*/ 85 h 134"/>
                  <a:gd name="T22" fmla="*/ 48 w 84"/>
                  <a:gd name="T23" fmla="*/ 89 h 134"/>
                  <a:gd name="T24" fmla="*/ 48 w 84"/>
                  <a:gd name="T25" fmla="*/ 92 h 134"/>
                  <a:gd name="T26" fmla="*/ 48 w 84"/>
                  <a:gd name="T27" fmla="*/ 98 h 134"/>
                  <a:gd name="T28" fmla="*/ 42 w 84"/>
                  <a:gd name="T29" fmla="*/ 102 h 134"/>
                  <a:gd name="T30" fmla="*/ 35 w 84"/>
                  <a:gd name="T31" fmla="*/ 110 h 134"/>
                  <a:gd name="T32" fmla="*/ 31 w 84"/>
                  <a:gd name="T33" fmla="*/ 109 h 134"/>
                  <a:gd name="T34" fmla="*/ 28 w 84"/>
                  <a:gd name="T35" fmla="*/ 118 h 134"/>
                  <a:gd name="T36" fmla="*/ 26 w 84"/>
                  <a:gd name="T37" fmla="*/ 126 h 134"/>
                  <a:gd name="T38" fmla="*/ 21 w 84"/>
                  <a:gd name="T39" fmla="*/ 132 h 134"/>
                  <a:gd name="T40" fmla="*/ 15 w 84"/>
                  <a:gd name="T41" fmla="*/ 127 h 134"/>
                  <a:gd name="T42" fmla="*/ 5 w 84"/>
                  <a:gd name="T43" fmla="*/ 92 h 134"/>
                  <a:gd name="T44" fmla="*/ 2 w 84"/>
                  <a:gd name="T45" fmla="*/ 74 h 134"/>
                  <a:gd name="T46" fmla="*/ 4 w 84"/>
                  <a:gd name="T47" fmla="*/ 71 h 134"/>
                  <a:gd name="T48" fmla="*/ 8 w 84"/>
                  <a:gd name="T49" fmla="*/ 57 h 134"/>
                  <a:gd name="T50" fmla="*/ 7 w 84"/>
                  <a:gd name="T51" fmla="*/ 48 h 134"/>
                  <a:gd name="T52" fmla="*/ 9 w 84"/>
                  <a:gd name="T53" fmla="*/ 39 h 134"/>
                  <a:gd name="T54" fmla="*/ 9 w 84"/>
                  <a:gd name="T55" fmla="*/ 34 h 134"/>
                  <a:gd name="T56" fmla="*/ 12 w 84"/>
                  <a:gd name="T57" fmla="*/ 21 h 134"/>
                  <a:gd name="T58" fmla="*/ 18 w 84"/>
                  <a:gd name="T59" fmla="*/ 3 h 134"/>
                  <a:gd name="T60" fmla="*/ 22 w 84"/>
                  <a:gd name="T61" fmla="*/ 3 h 134"/>
                  <a:gd name="T62" fmla="*/ 23 w 84"/>
                  <a:gd name="T63" fmla="*/ 8 h 134"/>
                  <a:gd name="T64" fmla="*/ 28 w 84"/>
                  <a:gd name="T65" fmla="*/ 8 h 134"/>
                  <a:gd name="T66" fmla="*/ 34 w 84"/>
                  <a:gd name="T67" fmla="*/ 2 h 134"/>
                  <a:gd name="T68" fmla="*/ 38 w 84"/>
                  <a:gd name="T69" fmla="*/ 0 h 134"/>
                  <a:gd name="T70" fmla="*/ 48 w 84"/>
                  <a:gd name="T71" fmla="*/ 5 h 134"/>
                  <a:gd name="T72" fmla="*/ 68 w 84"/>
                  <a:gd name="T73" fmla="*/ 45 h 134"/>
                  <a:gd name="T74" fmla="*/ 70 w 84"/>
                  <a:gd name="T75" fmla="*/ 54 h 134"/>
                  <a:gd name="T76" fmla="*/ 75 w 84"/>
                  <a:gd name="T77" fmla="*/ 57 h 134"/>
                  <a:gd name="T78" fmla="*/ 74 w 84"/>
                  <a:gd name="T79" fmla="*/ 55 h 134"/>
                  <a:gd name="T80" fmla="*/ 50 w 84"/>
                  <a:gd name="T81" fmla="*/ 95 h 134"/>
                  <a:gd name="T82" fmla="*/ 54 w 84"/>
                  <a:gd name="T83" fmla="*/ 94 h 134"/>
                  <a:gd name="T84" fmla="*/ 52 w 84"/>
                  <a:gd name="T85" fmla="*/ 98 h 134"/>
                  <a:gd name="T86" fmla="*/ 59 w 84"/>
                  <a:gd name="T87" fmla="*/ 87 h 134"/>
                  <a:gd name="T88" fmla="*/ 63 w 84"/>
                  <a:gd name="T89" fmla="*/ 89 h 134"/>
                  <a:gd name="T90" fmla="*/ 65 w 84"/>
                  <a:gd name="T91" fmla="*/ 85 h 134"/>
                  <a:gd name="T92" fmla="*/ 61 w 84"/>
                  <a:gd name="T93" fmla="*/ 8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4" h="134">
                    <a:moveTo>
                      <a:pt x="78" y="54"/>
                    </a:moveTo>
                    <a:cubicBezTo>
                      <a:pt x="81" y="57"/>
                      <a:pt x="81" y="57"/>
                      <a:pt x="81" y="57"/>
                    </a:cubicBezTo>
                    <a:cubicBezTo>
                      <a:pt x="84" y="62"/>
                      <a:pt x="84" y="62"/>
                      <a:pt x="84" y="62"/>
                    </a:cubicBezTo>
                    <a:cubicBezTo>
                      <a:pt x="84" y="65"/>
                      <a:pt x="84" y="65"/>
                      <a:pt x="84" y="65"/>
                    </a:cubicBezTo>
                    <a:cubicBezTo>
                      <a:pt x="81" y="71"/>
                      <a:pt x="81" y="71"/>
                      <a:pt x="81" y="71"/>
                    </a:cubicBezTo>
                    <a:cubicBezTo>
                      <a:pt x="78" y="72"/>
                      <a:pt x="78" y="72"/>
                      <a:pt x="78" y="72"/>
                    </a:cubicBezTo>
                    <a:cubicBezTo>
                      <a:pt x="74" y="76"/>
                      <a:pt x="74" y="76"/>
                      <a:pt x="74" y="76"/>
                    </a:cubicBezTo>
                    <a:cubicBezTo>
                      <a:pt x="67" y="83"/>
                      <a:pt x="67" y="83"/>
                      <a:pt x="67" y="83"/>
                    </a:cubicBezTo>
                    <a:cubicBezTo>
                      <a:pt x="67" y="83"/>
                      <a:pt x="66" y="83"/>
                      <a:pt x="65" y="83"/>
                    </a:cubicBezTo>
                    <a:cubicBezTo>
                      <a:pt x="65" y="83"/>
                      <a:pt x="64" y="81"/>
                      <a:pt x="64" y="81"/>
                    </a:cubicBezTo>
                    <a:cubicBezTo>
                      <a:pt x="62" y="81"/>
                      <a:pt x="62" y="81"/>
                      <a:pt x="62" y="81"/>
                    </a:cubicBezTo>
                    <a:cubicBezTo>
                      <a:pt x="60" y="83"/>
                      <a:pt x="60" y="83"/>
                      <a:pt x="60" y="83"/>
                    </a:cubicBezTo>
                    <a:cubicBezTo>
                      <a:pt x="57" y="85"/>
                      <a:pt x="57" y="85"/>
                      <a:pt x="57" y="85"/>
                    </a:cubicBezTo>
                    <a:cubicBezTo>
                      <a:pt x="56" y="87"/>
                      <a:pt x="56" y="87"/>
                      <a:pt x="56" y="87"/>
                    </a:cubicBezTo>
                    <a:cubicBezTo>
                      <a:pt x="58" y="88"/>
                      <a:pt x="58" y="88"/>
                      <a:pt x="58" y="88"/>
                    </a:cubicBezTo>
                    <a:cubicBezTo>
                      <a:pt x="57" y="89"/>
                      <a:pt x="57" y="89"/>
                      <a:pt x="57" y="89"/>
                    </a:cubicBezTo>
                    <a:cubicBezTo>
                      <a:pt x="57" y="93"/>
                      <a:pt x="57" y="93"/>
                      <a:pt x="57" y="93"/>
                    </a:cubicBezTo>
                    <a:cubicBezTo>
                      <a:pt x="54" y="93"/>
                      <a:pt x="54" y="93"/>
                      <a:pt x="54" y="93"/>
                    </a:cubicBezTo>
                    <a:cubicBezTo>
                      <a:pt x="54" y="91"/>
                      <a:pt x="54" y="91"/>
                      <a:pt x="54" y="91"/>
                    </a:cubicBezTo>
                    <a:cubicBezTo>
                      <a:pt x="54" y="89"/>
                      <a:pt x="54" y="89"/>
                      <a:pt x="54" y="89"/>
                    </a:cubicBezTo>
                    <a:cubicBezTo>
                      <a:pt x="52" y="89"/>
                      <a:pt x="52" y="89"/>
                      <a:pt x="52" y="89"/>
                    </a:cubicBezTo>
                    <a:cubicBezTo>
                      <a:pt x="50" y="85"/>
                      <a:pt x="50" y="85"/>
                      <a:pt x="50" y="85"/>
                    </a:cubicBezTo>
                    <a:cubicBezTo>
                      <a:pt x="47" y="87"/>
                      <a:pt x="47" y="87"/>
                      <a:pt x="47" y="87"/>
                    </a:cubicBezTo>
                    <a:cubicBezTo>
                      <a:pt x="48" y="89"/>
                      <a:pt x="48" y="89"/>
                      <a:pt x="48" y="89"/>
                    </a:cubicBezTo>
                    <a:cubicBezTo>
                      <a:pt x="49" y="90"/>
                      <a:pt x="49" y="90"/>
                      <a:pt x="49" y="90"/>
                    </a:cubicBezTo>
                    <a:cubicBezTo>
                      <a:pt x="48" y="92"/>
                      <a:pt x="48" y="92"/>
                      <a:pt x="48" y="92"/>
                    </a:cubicBezTo>
                    <a:cubicBezTo>
                      <a:pt x="48" y="96"/>
                      <a:pt x="48" y="96"/>
                      <a:pt x="48" y="96"/>
                    </a:cubicBezTo>
                    <a:cubicBezTo>
                      <a:pt x="48" y="98"/>
                      <a:pt x="48" y="98"/>
                      <a:pt x="48" y="98"/>
                    </a:cubicBezTo>
                    <a:cubicBezTo>
                      <a:pt x="46" y="102"/>
                      <a:pt x="46" y="102"/>
                      <a:pt x="46" y="102"/>
                    </a:cubicBezTo>
                    <a:cubicBezTo>
                      <a:pt x="42" y="102"/>
                      <a:pt x="42" y="102"/>
                      <a:pt x="42" y="102"/>
                    </a:cubicBezTo>
                    <a:cubicBezTo>
                      <a:pt x="42" y="106"/>
                      <a:pt x="42" y="106"/>
                      <a:pt x="42" y="106"/>
                    </a:cubicBezTo>
                    <a:cubicBezTo>
                      <a:pt x="35" y="110"/>
                      <a:pt x="35" y="110"/>
                      <a:pt x="35" y="110"/>
                    </a:cubicBezTo>
                    <a:cubicBezTo>
                      <a:pt x="33" y="111"/>
                      <a:pt x="33" y="111"/>
                      <a:pt x="33" y="111"/>
                    </a:cubicBezTo>
                    <a:cubicBezTo>
                      <a:pt x="31" y="109"/>
                      <a:pt x="31" y="109"/>
                      <a:pt x="31" y="109"/>
                    </a:cubicBezTo>
                    <a:cubicBezTo>
                      <a:pt x="27" y="114"/>
                      <a:pt x="27" y="114"/>
                      <a:pt x="27" y="114"/>
                    </a:cubicBezTo>
                    <a:cubicBezTo>
                      <a:pt x="28" y="118"/>
                      <a:pt x="28" y="118"/>
                      <a:pt x="28" y="118"/>
                    </a:cubicBezTo>
                    <a:cubicBezTo>
                      <a:pt x="26" y="120"/>
                      <a:pt x="26" y="120"/>
                      <a:pt x="26" y="120"/>
                    </a:cubicBezTo>
                    <a:cubicBezTo>
                      <a:pt x="26" y="126"/>
                      <a:pt x="26" y="126"/>
                      <a:pt x="26" y="126"/>
                    </a:cubicBezTo>
                    <a:cubicBezTo>
                      <a:pt x="25" y="134"/>
                      <a:pt x="25" y="134"/>
                      <a:pt x="25" y="134"/>
                    </a:cubicBezTo>
                    <a:cubicBezTo>
                      <a:pt x="21" y="132"/>
                      <a:pt x="21" y="132"/>
                      <a:pt x="21" y="132"/>
                    </a:cubicBezTo>
                    <a:cubicBezTo>
                      <a:pt x="21" y="128"/>
                      <a:pt x="21" y="128"/>
                      <a:pt x="21" y="128"/>
                    </a:cubicBezTo>
                    <a:cubicBezTo>
                      <a:pt x="15" y="127"/>
                      <a:pt x="15" y="127"/>
                      <a:pt x="15" y="127"/>
                    </a:cubicBezTo>
                    <a:cubicBezTo>
                      <a:pt x="15" y="123"/>
                      <a:pt x="15" y="123"/>
                      <a:pt x="15" y="123"/>
                    </a:cubicBezTo>
                    <a:cubicBezTo>
                      <a:pt x="5" y="92"/>
                      <a:pt x="5" y="92"/>
                      <a:pt x="5" y="92"/>
                    </a:cubicBezTo>
                    <a:cubicBezTo>
                      <a:pt x="0" y="74"/>
                      <a:pt x="0" y="74"/>
                      <a:pt x="0" y="74"/>
                    </a:cubicBezTo>
                    <a:cubicBezTo>
                      <a:pt x="2" y="74"/>
                      <a:pt x="2" y="74"/>
                      <a:pt x="2" y="74"/>
                    </a:cubicBezTo>
                    <a:cubicBezTo>
                      <a:pt x="4" y="74"/>
                      <a:pt x="4" y="74"/>
                      <a:pt x="4" y="74"/>
                    </a:cubicBezTo>
                    <a:cubicBezTo>
                      <a:pt x="4" y="71"/>
                      <a:pt x="4" y="71"/>
                      <a:pt x="4" y="71"/>
                    </a:cubicBezTo>
                    <a:cubicBezTo>
                      <a:pt x="5" y="63"/>
                      <a:pt x="5" y="63"/>
                      <a:pt x="5" y="63"/>
                    </a:cubicBezTo>
                    <a:cubicBezTo>
                      <a:pt x="8" y="57"/>
                      <a:pt x="8" y="57"/>
                      <a:pt x="8" y="57"/>
                    </a:cubicBezTo>
                    <a:cubicBezTo>
                      <a:pt x="10" y="52"/>
                      <a:pt x="10" y="52"/>
                      <a:pt x="10" y="52"/>
                    </a:cubicBezTo>
                    <a:cubicBezTo>
                      <a:pt x="7" y="48"/>
                      <a:pt x="7" y="48"/>
                      <a:pt x="7" y="48"/>
                    </a:cubicBezTo>
                    <a:cubicBezTo>
                      <a:pt x="7" y="40"/>
                      <a:pt x="7" y="40"/>
                      <a:pt x="7" y="40"/>
                    </a:cubicBezTo>
                    <a:cubicBezTo>
                      <a:pt x="9" y="39"/>
                      <a:pt x="9" y="39"/>
                      <a:pt x="9" y="39"/>
                    </a:cubicBezTo>
                    <a:cubicBezTo>
                      <a:pt x="10" y="35"/>
                      <a:pt x="10" y="35"/>
                      <a:pt x="10" y="35"/>
                    </a:cubicBezTo>
                    <a:cubicBezTo>
                      <a:pt x="9" y="34"/>
                      <a:pt x="9" y="34"/>
                      <a:pt x="9" y="34"/>
                    </a:cubicBezTo>
                    <a:cubicBezTo>
                      <a:pt x="9" y="27"/>
                      <a:pt x="9" y="27"/>
                      <a:pt x="9" y="27"/>
                    </a:cubicBezTo>
                    <a:cubicBezTo>
                      <a:pt x="12" y="21"/>
                      <a:pt x="12" y="21"/>
                      <a:pt x="12" y="21"/>
                    </a:cubicBezTo>
                    <a:cubicBezTo>
                      <a:pt x="15" y="9"/>
                      <a:pt x="15" y="9"/>
                      <a:pt x="15" y="9"/>
                    </a:cubicBezTo>
                    <a:cubicBezTo>
                      <a:pt x="18" y="3"/>
                      <a:pt x="18" y="3"/>
                      <a:pt x="18" y="3"/>
                    </a:cubicBezTo>
                    <a:cubicBezTo>
                      <a:pt x="20" y="3"/>
                      <a:pt x="20" y="3"/>
                      <a:pt x="20" y="3"/>
                    </a:cubicBezTo>
                    <a:cubicBezTo>
                      <a:pt x="22" y="3"/>
                      <a:pt x="22" y="3"/>
                      <a:pt x="22" y="3"/>
                    </a:cubicBezTo>
                    <a:cubicBezTo>
                      <a:pt x="22" y="5"/>
                      <a:pt x="22" y="5"/>
                      <a:pt x="22" y="5"/>
                    </a:cubicBezTo>
                    <a:cubicBezTo>
                      <a:pt x="23" y="8"/>
                      <a:pt x="23" y="8"/>
                      <a:pt x="23" y="8"/>
                    </a:cubicBezTo>
                    <a:cubicBezTo>
                      <a:pt x="27" y="9"/>
                      <a:pt x="27" y="9"/>
                      <a:pt x="27" y="9"/>
                    </a:cubicBezTo>
                    <a:cubicBezTo>
                      <a:pt x="28" y="8"/>
                      <a:pt x="28" y="8"/>
                      <a:pt x="28" y="8"/>
                    </a:cubicBezTo>
                    <a:cubicBezTo>
                      <a:pt x="28" y="6"/>
                      <a:pt x="28" y="6"/>
                      <a:pt x="28" y="6"/>
                    </a:cubicBezTo>
                    <a:cubicBezTo>
                      <a:pt x="34" y="2"/>
                      <a:pt x="34" y="2"/>
                      <a:pt x="34" y="2"/>
                    </a:cubicBezTo>
                    <a:cubicBezTo>
                      <a:pt x="36" y="0"/>
                      <a:pt x="36" y="0"/>
                      <a:pt x="36" y="0"/>
                    </a:cubicBezTo>
                    <a:cubicBezTo>
                      <a:pt x="38" y="0"/>
                      <a:pt x="38" y="0"/>
                      <a:pt x="38" y="0"/>
                    </a:cubicBezTo>
                    <a:cubicBezTo>
                      <a:pt x="46" y="4"/>
                      <a:pt x="46" y="4"/>
                      <a:pt x="46" y="4"/>
                    </a:cubicBezTo>
                    <a:cubicBezTo>
                      <a:pt x="48" y="5"/>
                      <a:pt x="48" y="5"/>
                      <a:pt x="48" y="5"/>
                    </a:cubicBezTo>
                    <a:cubicBezTo>
                      <a:pt x="60" y="45"/>
                      <a:pt x="60" y="45"/>
                      <a:pt x="60" y="45"/>
                    </a:cubicBezTo>
                    <a:cubicBezTo>
                      <a:pt x="68" y="45"/>
                      <a:pt x="68" y="45"/>
                      <a:pt x="68" y="45"/>
                    </a:cubicBezTo>
                    <a:cubicBezTo>
                      <a:pt x="70" y="47"/>
                      <a:pt x="70" y="47"/>
                      <a:pt x="70" y="47"/>
                    </a:cubicBezTo>
                    <a:cubicBezTo>
                      <a:pt x="70" y="54"/>
                      <a:pt x="70" y="54"/>
                      <a:pt x="70" y="54"/>
                    </a:cubicBezTo>
                    <a:cubicBezTo>
                      <a:pt x="74" y="57"/>
                      <a:pt x="74" y="57"/>
                      <a:pt x="74" y="57"/>
                    </a:cubicBezTo>
                    <a:cubicBezTo>
                      <a:pt x="75" y="57"/>
                      <a:pt x="75" y="57"/>
                      <a:pt x="75" y="57"/>
                    </a:cubicBezTo>
                    <a:cubicBezTo>
                      <a:pt x="75" y="56"/>
                      <a:pt x="75" y="56"/>
                      <a:pt x="75" y="56"/>
                    </a:cubicBezTo>
                    <a:cubicBezTo>
                      <a:pt x="74" y="55"/>
                      <a:pt x="74" y="55"/>
                      <a:pt x="74" y="55"/>
                    </a:cubicBezTo>
                    <a:lnTo>
                      <a:pt x="78" y="54"/>
                    </a:lnTo>
                    <a:close/>
                    <a:moveTo>
                      <a:pt x="50" y="95"/>
                    </a:moveTo>
                    <a:cubicBezTo>
                      <a:pt x="52" y="93"/>
                      <a:pt x="52" y="93"/>
                      <a:pt x="52" y="93"/>
                    </a:cubicBezTo>
                    <a:cubicBezTo>
                      <a:pt x="54" y="94"/>
                      <a:pt x="54" y="94"/>
                      <a:pt x="54" y="94"/>
                    </a:cubicBezTo>
                    <a:cubicBezTo>
                      <a:pt x="55" y="97"/>
                      <a:pt x="55" y="97"/>
                      <a:pt x="55" y="97"/>
                    </a:cubicBezTo>
                    <a:cubicBezTo>
                      <a:pt x="52" y="98"/>
                      <a:pt x="52" y="98"/>
                      <a:pt x="52" y="98"/>
                    </a:cubicBezTo>
                    <a:lnTo>
                      <a:pt x="50" y="95"/>
                    </a:lnTo>
                    <a:close/>
                    <a:moveTo>
                      <a:pt x="59" y="87"/>
                    </a:moveTo>
                    <a:cubicBezTo>
                      <a:pt x="61" y="89"/>
                      <a:pt x="61" y="89"/>
                      <a:pt x="61" y="89"/>
                    </a:cubicBezTo>
                    <a:cubicBezTo>
                      <a:pt x="61" y="89"/>
                      <a:pt x="63" y="89"/>
                      <a:pt x="63" y="89"/>
                    </a:cubicBezTo>
                    <a:cubicBezTo>
                      <a:pt x="63" y="88"/>
                      <a:pt x="63" y="86"/>
                      <a:pt x="63" y="86"/>
                    </a:cubicBezTo>
                    <a:cubicBezTo>
                      <a:pt x="65" y="85"/>
                      <a:pt x="65" y="85"/>
                      <a:pt x="65" y="85"/>
                    </a:cubicBezTo>
                    <a:cubicBezTo>
                      <a:pt x="64" y="83"/>
                      <a:pt x="64" y="83"/>
                      <a:pt x="64" y="83"/>
                    </a:cubicBezTo>
                    <a:cubicBezTo>
                      <a:pt x="61" y="84"/>
                      <a:pt x="61" y="84"/>
                      <a:pt x="61" y="84"/>
                    </a:cubicBezTo>
                    <a:lnTo>
                      <a:pt x="59" y="8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1" name="Freeform 17">
                <a:extLst/>
              </p:cNvPr>
              <p:cNvSpPr>
                <a:spLocks/>
              </p:cNvSpPr>
              <p:nvPr/>
            </p:nvSpPr>
            <p:spPr bwMode="auto">
              <a:xfrm>
                <a:off x="10477500" y="1008063"/>
                <a:ext cx="323850" cy="700088"/>
              </a:xfrm>
              <a:custGeom>
                <a:avLst/>
                <a:gdLst>
                  <a:gd name="T0" fmla="*/ 188 w 204"/>
                  <a:gd name="T1" fmla="*/ 369 h 441"/>
                  <a:gd name="T2" fmla="*/ 199 w 204"/>
                  <a:gd name="T3" fmla="*/ 364 h 441"/>
                  <a:gd name="T4" fmla="*/ 204 w 204"/>
                  <a:gd name="T5" fmla="*/ 336 h 441"/>
                  <a:gd name="T6" fmla="*/ 188 w 204"/>
                  <a:gd name="T7" fmla="*/ 331 h 441"/>
                  <a:gd name="T8" fmla="*/ 182 w 204"/>
                  <a:gd name="T9" fmla="*/ 309 h 441"/>
                  <a:gd name="T10" fmla="*/ 154 w 204"/>
                  <a:gd name="T11" fmla="*/ 303 h 441"/>
                  <a:gd name="T12" fmla="*/ 149 w 204"/>
                  <a:gd name="T13" fmla="*/ 281 h 441"/>
                  <a:gd name="T14" fmla="*/ 99 w 204"/>
                  <a:gd name="T15" fmla="*/ 110 h 441"/>
                  <a:gd name="T16" fmla="*/ 66 w 204"/>
                  <a:gd name="T17" fmla="*/ 0 h 441"/>
                  <a:gd name="T18" fmla="*/ 55 w 204"/>
                  <a:gd name="T19" fmla="*/ 0 h 441"/>
                  <a:gd name="T20" fmla="*/ 50 w 204"/>
                  <a:gd name="T21" fmla="*/ 11 h 441"/>
                  <a:gd name="T22" fmla="*/ 50 w 204"/>
                  <a:gd name="T23" fmla="*/ 11 h 441"/>
                  <a:gd name="T24" fmla="*/ 39 w 204"/>
                  <a:gd name="T25" fmla="*/ 0 h 441"/>
                  <a:gd name="T26" fmla="*/ 28 w 204"/>
                  <a:gd name="T27" fmla="*/ 16 h 441"/>
                  <a:gd name="T28" fmla="*/ 28 w 204"/>
                  <a:gd name="T29" fmla="*/ 55 h 441"/>
                  <a:gd name="T30" fmla="*/ 33 w 204"/>
                  <a:gd name="T31" fmla="*/ 93 h 441"/>
                  <a:gd name="T32" fmla="*/ 44 w 204"/>
                  <a:gd name="T33" fmla="*/ 115 h 441"/>
                  <a:gd name="T34" fmla="*/ 44 w 204"/>
                  <a:gd name="T35" fmla="*/ 143 h 441"/>
                  <a:gd name="T36" fmla="*/ 17 w 204"/>
                  <a:gd name="T37" fmla="*/ 182 h 441"/>
                  <a:gd name="T38" fmla="*/ 0 w 204"/>
                  <a:gd name="T39" fmla="*/ 193 h 441"/>
                  <a:gd name="T40" fmla="*/ 0 w 204"/>
                  <a:gd name="T41" fmla="*/ 198 h 441"/>
                  <a:gd name="T42" fmla="*/ 6 w 204"/>
                  <a:gd name="T43" fmla="*/ 215 h 441"/>
                  <a:gd name="T44" fmla="*/ 6 w 204"/>
                  <a:gd name="T45" fmla="*/ 275 h 441"/>
                  <a:gd name="T46" fmla="*/ 0 w 204"/>
                  <a:gd name="T47" fmla="*/ 342 h 441"/>
                  <a:gd name="T48" fmla="*/ 0 w 204"/>
                  <a:gd name="T49" fmla="*/ 380 h 441"/>
                  <a:gd name="T50" fmla="*/ 6 w 204"/>
                  <a:gd name="T51" fmla="*/ 386 h 441"/>
                  <a:gd name="T52" fmla="*/ 6 w 204"/>
                  <a:gd name="T53" fmla="*/ 419 h 441"/>
                  <a:gd name="T54" fmla="*/ 6 w 204"/>
                  <a:gd name="T55" fmla="*/ 435 h 441"/>
                  <a:gd name="T56" fmla="*/ 11 w 204"/>
                  <a:gd name="T57" fmla="*/ 441 h 441"/>
                  <a:gd name="T58" fmla="*/ 132 w 204"/>
                  <a:gd name="T59" fmla="*/ 408 h 441"/>
                  <a:gd name="T60" fmla="*/ 149 w 204"/>
                  <a:gd name="T61" fmla="*/ 402 h 441"/>
                  <a:gd name="T62" fmla="*/ 160 w 204"/>
                  <a:gd name="T63" fmla="*/ 386 h 441"/>
                  <a:gd name="T64" fmla="*/ 188 w 204"/>
                  <a:gd name="T65" fmla="*/ 36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4" h="441">
                    <a:moveTo>
                      <a:pt x="188" y="369"/>
                    </a:moveTo>
                    <a:lnTo>
                      <a:pt x="199" y="364"/>
                    </a:lnTo>
                    <a:lnTo>
                      <a:pt x="204" y="336"/>
                    </a:lnTo>
                    <a:lnTo>
                      <a:pt x="188" y="331"/>
                    </a:lnTo>
                    <a:lnTo>
                      <a:pt x="182" y="309"/>
                    </a:lnTo>
                    <a:lnTo>
                      <a:pt x="154" y="303"/>
                    </a:lnTo>
                    <a:lnTo>
                      <a:pt x="149" y="281"/>
                    </a:lnTo>
                    <a:lnTo>
                      <a:pt x="99" y="110"/>
                    </a:lnTo>
                    <a:lnTo>
                      <a:pt x="66" y="0"/>
                    </a:lnTo>
                    <a:lnTo>
                      <a:pt x="55" y="0"/>
                    </a:lnTo>
                    <a:lnTo>
                      <a:pt x="50" y="11"/>
                    </a:lnTo>
                    <a:lnTo>
                      <a:pt x="50" y="11"/>
                    </a:lnTo>
                    <a:lnTo>
                      <a:pt x="39" y="0"/>
                    </a:lnTo>
                    <a:lnTo>
                      <a:pt x="28" y="16"/>
                    </a:lnTo>
                    <a:lnTo>
                      <a:pt x="28" y="55"/>
                    </a:lnTo>
                    <a:lnTo>
                      <a:pt x="33" y="93"/>
                    </a:lnTo>
                    <a:lnTo>
                      <a:pt x="44" y="115"/>
                    </a:lnTo>
                    <a:lnTo>
                      <a:pt x="44" y="143"/>
                    </a:lnTo>
                    <a:lnTo>
                      <a:pt x="17" y="182"/>
                    </a:lnTo>
                    <a:lnTo>
                      <a:pt x="0" y="193"/>
                    </a:lnTo>
                    <a:lnTo>
                      <a:pt x="0" y="198"/>
                    </a:lnTo>
                    <a:lnTo>
                      <a:pt x="6" y="215"/>
                    </a:lnTo>
                    <a:lnTo>
                      <a:pt x="6" y="275"/>
                    </a:lnTo>
                    <a:lnTo>
                      <a:pt x="0" y="342"/>
                    </a:lnTo>
                    <a:lnTo>
                      <a:pt x="0" y="380"/>
                    </a:lnTo>
                    <a:lnTo>
                      <a:pt x="6" y="386"/>
                    </a:lnTo>
                    <a:lnTo>
                      <a:pt x="6" y="419"/>
                    </a:lnTo>
                    <a:lnTo>
                      <a:pt x="6" y="435"/>
                    </a:lnTo>
                    <a:lnTo>
                      <a:pt x="11" y="441"/>
                    </a:lnTo>
                    <a:lnTo>
                      <a:pt x="132" y="408"/>
                    </a:lnTo>
                    <a:lnTo>
                      <a:pt x="149" y="402"/>
                    </a:lnTo>
                    <a:lnTo>
                      <a:pt x="160" y="386"/>
                    </a:lnTo>
                    <a:lnTo>
                      <a:pt x="188" y="3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2" name="Freeform 18">
                <a:extLst/>
              </p:cNvPr>
              <p:cNvSpPr>
                <a:spLocks/>
              </p:cNvSpPr>
              <p:nvPr/>
            </p:nvSpPr>
            <p:spPr bwMode="auto">
              <a:xfrm>
                <a:off x="10206038" y="1095375"/>
                <a:ext cx="333375" cy="630238"/>
              </a:xfrm>
              <a:custGeom>
                <a:avLst/>
                <a:gdLst>
                  <a:gd name="T0" fmla="*/ 94 w 210"/>
                  <a:gd name="T1" fmla="*/ 397 h 397"/>
                  <a:gd name="T2" fmla="*/ 88 w 210"/>
                  <a:gd name="T3" fmla="*/ 358 h 397"/>
                  <a:gd name="T4" fmla="*/ 72 w 210"/>
                  <a:gd name="T5" fmla="*/ 281 h 397"/>
                  <a:gd name="T6" fmla="*/ 66 w 210"/>
                  <a:gd name="T7" fmla="*/ 281 h 397"/>
                  <a:gd name="T8" fmla="*/ 44 w 210"/>
                  <a:gd name="T9" fmla="*/ 270 h 397"/>
                  <a:gd name="T10" fmla="*/ 50 w 210"/>
                  <a:gd name="T11" fmla="*/ 248 h 397"/>
                  <a:gd name="T12" fmla="*/ 44 w 210"/>
                  <a:gd name="T13" fmla="*/ 237 h 397"/>
                  <a:gd name="T14" fmla="*/ 22 w 210"/>
                  <a:gd name="T15" fmla="*/ 198 h 397"/>
                  <a:gd name="T16" fmla="*/ 28 w 210"/>
                  <a:gd name="T17" fmla="*/ 171 h 397"/>
                  <a:gd name="T18" fmla="*/ 22 w 210"/>
                  <a:gd name="T19" fmla="*/ 132 h 397"/>
                  <a:gd name="T20" fmla="*/ 6 w 210"/>
                  <a:gd name="T21" fmla="*/ 88 h 397"/>
                  <a:gd name="T22" fmla="*/ 0 w 210"/>
                  <a:gd name="T23" fmla="*/ 49 h 397"/>
                  <a:gd name="T24" fmla="*/ 193 w 210"/>
                  <a:gd name="T25" fmla="*/ 0 h 397"/>
                  <a:gd name="T26" fmla="*/ 199 w 210"/>
                  <a:gd name="T27" fmla="*/ 44 h 397"/>
                  <a:gd name="T28" fmla="*/ 210 w 210"/>
                  <a:gd name="T29" fmla="*/ 66 h 397"/>
                  <a:gd name="T30" fmla="*/ 210 w 210"/>
                  <a:gd name="T31" fmla="*/ 94 h 397"/>
                  <a:gd name="T32" fmla="*/ 182 w 210"/>
                  <a:gd name="T33" fmla="*/ 121 h 397"/>
                  <a:gd name="T34" fmla="*/ 166 w 210"/>
                  <a:gd name="T35" fmla="*/ 132 h 397"/>
                  <a:gd name="T36" fmla="*/ 166 w 210"/>
                  <a:gd name="T37" fmla="*/ 138 h 397"/>
                  <a:gd name="T38" fmla="*/ 171 w 210"/>
                  <a:gd name="T39" fmla="*/ 154 h 397"/>
                  <a:gd name="T40" fmla="*/ 171 w 210"/>
                  <a:gd name="T41" fmla="*/ 215 h 397"/>
                  <a:gd name="T42" fmla="*/ 166 w 210"/>
                  <a:gd name="T43" fmla="*/ 281 h 397"/>
                  <a:gd name="T44" fmla="*/ 166 w 210"/>
                  <a:gd name="T45" fmla="*/ 320 h 397"/>
                  <a:gd name="T46" fmla="*/ 171 w 210"/>
                  <a:gd name="T47" fmla="*/ 331 h 397"/>
                  <a:gd name="T48" fmla="*/ 171 w 210"/>
                  <a:gd name="T49" fmla="*/ 364 h 397"/>
                  <a:gd name="T50" fmla="*/ 166 w 210"/>
                  <a:gd name="T51" fmla="*/ 375 h 397"/>
                  <a:gd name="T52" fmla="*/ 171 w 210"/>
                  <a:gd name="T53" fmla="*/ 386 h 397"/>
                  <a:gd name="T54" fmla="*/ 121 w 210"/>
                  <a:gd name="T55" fmla="*/ 397 h 397"/>
                  <a:gd name="T56" fmla="*/ 94 w 210"/>
                  <a:gd name="T57" fmla="*/ 39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0" h="397">
                    <a:moveTo>
                      <a:pt x="94" y="397"/>
                    </a:moveTo>
                    <a:lnTo>
                      <a:pt x="88" y="358"/>
                    </a:lnTo>
                    <a:lnTo>
                      <a:pt x="72" y="281"/>
                    </a:lnTo>
                    <a:lnTo>
                      <a:pt x="66" y="281"/>
                    </a:lnTo>
                    <a:lnTo>
                      <a:pt x="44" y="270"/>
                    </a:lnTo>
                    <a:lnTo>
                      <a:pt x="50" y="248"/>
                    </a:lnTo>
                    <a:lnTo>
                      <a:pt x="44" y="237"/>
                    </a:lnTo>
                    <a:lnTo>
                      <a:pt x="22" y="198"/>
                    </a:lnTo>
                    <a:lnTo>
                      <a:pt x="28" y="171"/>
                    </a:lnTo>
                    <a:lnTo>
                      <a:pt x="22" y="132"/>
                    </a:lnTo>
                    <a:lnTo>
                      <a:pt x="6" y="88"/>
                    </a:lnTo>
                    <a:lnTo>
                      <a:pt x="0" y="49"/>
                    </a:lnTo>
                    <a:lnTo>
                      <a:pt x="193" y="0"/>
                    </a:lnTo>
                    <a:lnTo>
                      <a:pt x="199" y="44"/>
                    </a:lnTo>
                    <a:lnTo>
                      <a:pt x="210" y="66"/>
                    </a:lnTo>
                    <a:lnTo>
                      <a:pt x="210" y="94"/>
                    </a:lnTo>
                    <a:lnTo>
                      <a:pt x="182" y="121"/>
                    </a:lnTo>
                    <a:lnTo>
                      <a:pt x="166" y="132"/>
                    </a:lnTo>
                    <a:lnTo>
                      <a:pt x="166" y="138"/>
                    </a:lnTo>
                    <a:lnTo>
                      <a:pt x="171" y="154"/>
                    </a:lnTo>
                    <a:lnTo>
                      <a:pt x="171" y="215"/>
                    </a:lnTo>
                    <a:lnTo>
                      <a:pt x="166" y="281"/>
                    </a:lnTo>
                    <a:lnTo>
                      <a:pt x="166" y="320"/>
                    </a:lnTo>
                    <a:lnTo>
                      <a:pt x="171" y="331"/>
                    </a:lnTo>
                    <a:lnTo>
                      <a:pt x="171" y="364"/>
                    </a:lnTo>
                    <a:lnTo>
                      <a:pt x="166" y="375"/>
                    </a:lnTo>
                    <a:lnTo>
                      <a:pt x="171" y="386"/>
                    </a:lnTo>
                    <a:lnTo>
                      <a:pt x="121" y="397"/>
                    </a:lnTo>
                    <a:lnTo>
                      <a:pt x="94" y="39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3" name="Freeform 19">
                <a:extLst/>
              </p:cNvPr>
              <p:cNvSpPr>
                <a:spLocks/>
              </p:cNvSpPr>
              <p:nvPr/>
            </p:nvSpPr>
            <p:spPr bwMode="auto">
              <a:xfrm>
                <a:off x="9190038" y="1182688"/>
                <a:ext cx="1479550" cy="1130300"/>
              </a:xfrm>
              <a:custGeom>
                <a:avLst/>
                <a:gdLst>
                  <a:gd name="T0" fmla="*/ 607 w 932"/>
                  <a:gd name="T1" fmla="*/ 601 h 712"/>
                  <a:gd name="T2" fmla="*/ 574 w 932"/>
                  <a:gd name="T3" fmla="*/ 585 h 712"/>
                  <a:gd name="T4" fmla="*/ 535 w 932"/>
                  <a:gd name="T5" fmla="*/ 541 h 712"/>
                  <a:gd name="T6" fmla="*/ 375 w 932"/>
                  <a:gd name="T7" fmla="*/ 552 h 712"/>
                  <a:gd name="T8" fmla="*/ 6 w 932"/>
                  <a:gd name="T9" fmla="*/ 623 h 712"/>
                  <a:gd name="T10" fmla="*/ 6 w 932"/>
                  <a:gd name="T11" fmla="*/ 568 h 712"/>
                  <a:gd name="T12" fmla="*/ 28 w 932"/>
                  <a:gd name="T13" fmla="*/ 546 h 712"/>
                  <a:gd name="T14" fmla="*/ 50 w 932"/>
                  <a:gd name="T15" fmla="*/ 530 h 712"/>
                  <a:gd name="T16" fmla="*/ 72 w 932"/>
                  <a:gd name="T17" fmla="*/ 496 h 712"/>
                  <a:gd name="T18" fmla="*/ 78 w 932"/>
                  <a:gd name="T19" fmla="*/ 480 h 712"/>
                  <a:gd name="T20" fmla="*/ 56 w 932"/>
                  <a:gd name="T21" fmla="*/ 458 h 712"/>
                  <a:gd name="T22" fmla="*/ 61 w 932"/>
                  <a:gd name="T23" fmla="*/ 397 h 712"/>
                  <a:gd name="T24" fmla="*/ 127 w 932"/>
                  <a:gd name="T25" fmla="*/ 381 h 712"/>
                  <a:gd name="T26" fmla="*/ 193 w 932"/>
                  <a:gd name="T27" fmla="*/ 375 h 712"/>
                  <a:gd name="T28" fmla="*/ 221 w 932"/>
                  <a:gd name="T29" fmla="*/ 386 h 712"/>
                  <a:gd name="T30" fmla="*/ 254 w 932"/>
                  <a:gd name="T31" fmla="*/ 364 h 712"/>
                  <a:gd name="T32" fmla="*/ 309 w 932"/>
                  <a:gd name="T33" fmla="*/ 348 h 712"/>
                  <a:gd name="T34" fmla="*/ 337 w 932"/>
                  <a:gd name="T35" fmla="*/ 314 h 712"/>
                  <a:gd name="T36" fmla="*/ 364 w 932"/>
                  <a:gd name="T37" fmla="*/ 303 h 712"/>
                  <a:gd name="T38" fmla="*/ 353 w 932"/>
                  <a:gd name="T39" fmla="*/ 270 h 712"/>
                  <a:gd name="T40" fmla="*/ 359 w 932"/>
                  <a:gd name="T41" fmla="*/ 248 h 712"/>
                  <a:gd name="T42" fmla="*/ 348 w 932"/>
                  <a:gd name="T43" fmla="*/ 237 h 712"/>
                  <a:gd name="T44" fmla="*/ 326 w 932"/>
                  <a:gd name="T45" fmla="*/ 221 h 712"/>
                  <a:gd name="T46" fmla="*/ 370 w 932"/>
                  <a:gd name="T47" fmla="*/ 160 h 712"/>
                  <a:gd name="T48" fmla="*/ 386 w 932"/>
                  <a:gd name="T49" fmla="*/ 132 h 712"/>
                  <a:gd name="T50" fmla="*/ 425 w 932"/>
                  <a:gd name="T51" fmla="*/ 72 h 712"/>
                  <a:gd name="T52" fmla="*/ 458 w 932"/>
                  <a:gd name="T53" fmla="*/ 44 h 712"/>
                  <a:gd name="T54" fmla="*/ 524 w 932"/>
                  <a:gd name="T55" fmla="*/ 22 h 712"/>
                  <a:gd name="T56" fmla="*/ 579 w 932"/>
                  <a:gd name="T57" fmla="*/ 11 h 712"/>
                  <a:gd name="T58" fmla="*/ 640 w 932"/>
                  <a:gd name="T59" fmla="*/ 33 h 712"/>
                  <a:gd name="T60" fmla="*/ 662 w 932"/>
                  <a:gd name="T61" fmla="*/ 121 h 712"/>
                  <a:gd name="T62" fmla="*/ 673 w 932"/>
                  <a:gd name="T63" fmla="*/ 182 h 712"/>
                  <a:gd name="T64" fmla="*/ 673 w 932"/>
                  <a:gd name="T65" fmla="*/ 221 h 712"/>
                  <a:gd name="T66" fmla="*/ 701 w 932"/>
                  <a:gd name="T67" fmla="*/ 232 h 712"/>
                  <a:gd name="T68" fmla="*/ 723 w 932"/>
                  <a:gd name="T69" fmla="*/ 348 h 712"/>
                  <a:gd name="T70" fmla="*/ 723 w 932"/>
                  <a:gd name="T71" fmla="*/ 469 h 712"/>
                  <a:gd name="T72" fmla="*/ 739 w 932"/>
                  <a:gd name="T73" fmla="*/ 552 h 712"/>
                  <a:gd name="T74" fmla="*/ 728 w 932"/>
                  <a:gd name="T75" fmla="*/ 623 h 712"/>
                  <a:gd name="T76" fmla="*/ 750 w 932"/>
                  <a:gd name="T77" fmla="*/ 651 h 712"/>
                  <a:gd name="T78" fmla="*/ 739 w 932"/>
                  <a:gd name="T79" fmla="*/ 673 h 712"/>
                  <a:gd name="T80" fmla="*/ 761 w 932"/>
                  <a:gd name="T81" fmla="*/ 662 h 712"/>
                  <a:gd name="T82" fmla="*/ 784 w 932"/>
                  <a:gd name="T83" fmla="*/ 640 h 712"/>
                  <a:gd name="T84" fmla="*/ 811 w 932"/>
                  <a:gd name="T85" fmla="*/ 645 h 712"/>
                  <a:gd name="T86" fmla="*/ 894 w 932"/>
                  <a:gd name="T87" fmla="*/ 596 h 712"/>
                  <a:gd name="T88" fmla="*/ 932 w 932"/>
                  <a:gd name="T89" fmla="*/ 596 h 712"/>
                  <a:gd name="T90" fmla="*/ 877 w 932"/>
                  <a:gd name="T91" fmla="*/ 645 h 712"/>
                  <a:gd name="T92" fmla="*/ 806 w 932"/>
                  <a:gd name="T93" fmla="*/ 690 h 712"/>
                  <a:gd name="T94" fmla="*/ 734 w 932"/>
                  <a:gd name="T95" fmla="*/ 712 h 712"/>
                  <a:gd name="T96" fmla="*/ 723 w 932"/>
                  <a:gd name="T97" fmla="*/ 684 h 712"/>
                  <a:gd name="T98" fmla="*/ 728 w 932"/>
                  <a:gd name="T99" fmla="*/ 645 h 712"/>
                  <a:gd name="T100" fmla="*/ 673 w 932"/>
                  <a:gd name="T101" fmla="*/ 629 h 712"/>
                  <a:gd name="T102" fmla="*/ 618 w 932"/>
                  <a:gd name="T103" fmla="*/ 60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32" h="712">
                    <a:moveTo>
                      <a:pt x="618" y="607"/>
                    </a:moveTo>
                    <a:lnTo>
                      <a:pt x="607" y="601"/>
                    </a:lnTo>
                    <a:lnTo>
                      <a:pt x="591" y="596"/>
                    </a:lnTo>
                    <a:lnTo>
                      <a:pt x="574" y="585"/>
                    </a:lnTo>
                    <a:lnTo>
                      <a:pt x="563" y="541"/>
                    </a:lnTo>
                    <a:lnTo>
                      <a:pt x="535" y="541"/>
                    </a:lnTo>
                    <a:lnTo>
                      <a:pt x="519" y="519"/>
                    </a:lnTo>
                    <a:lnTo>
                      <a:pt x="375" y="552"/>
                    </a:lnTo>
                    <a:lnTo>
                      <a:pt x="61" y="618"/>
                    </a:lnTo>
                    <a:lnTo>
                      <a:pt x="6" y="623"/>
                    </a:lnTo>
                    <a:lnTo>
                      <a:pt x="0" y="579"/>
                    </a:lnTo>
                    <a:lnTo>
                      <a:pt x="6" y="568"/>
                    </a:lnTo>
                    <a:lnTo>
                      <a:pt x="17" y="563"/>
                    </a:lnTo>
                    <a:lnTo>
                      <a:pt x="28" y="546"/>
                    </a:lnTo>
                    <a:lnTo>
                      <a:pt x="39" y="541"/>
                    </a:lnTo>
                    <a:lnTo>
                      <a:pt x="50" y="530"/>
                    </a:lnTo>
                    <a:lnTo>
                      <a:pt x="56" y="513"/>
                    </a:lnTo>
                    <a:lnTo>
                      <a:pt x="72" y="496"/>
                    </a:lnTo>
                    <a:lnTo>
                      <a:pt x="78" y="485"/>
                    </a:lnTo>
                    <a:lnTo>
                      <a:pt x="78" y="480"/>
                    </a:lnTo>
                    <a:lnTo>
                      <a:pt x="67" y="458"/>
                    </a:lnTo>
                    <a:lnTo>
                      <a:pt x="56" y="458"/>
                    </a:lnTo>
                    <a:lnTo>
                      <a:pt x="45" y="414"/>
                    </a:lnTo>
                    <a:lnTo>
                      <a:pt x="61" y="397"/>
                    </a:lnTo>
                    <a:lnTo>
                      <a:pt x="94" y="386"/>
                    </a:lnTo>
                    <a:lnTo>
                      <a:pt x="127" y="381"/>
                    </a:lnTo>
                    <a:lnTo>
                      <a:pt x="149" y="375"/>
                    </a:lnTo>
                    <a:lnTo>
                      <a:pt x="193" y="375"/>
                    </a:lnTo>
                    <a:lnTo>
                      <a:pt x="210" y="386"/>
                    </a:lnTo>
                    <a:lnTo>
                      <a:pt x="221" y="386"/>
                    </a:lnTo>
                    <a:lnTo>
                      <a:pt x="238" y="375"/>
                    </a:lnTo>
                    <a:lnTo>
                      <a:pt x="254" y="364"/>
                    </a:lnTo>
                    <a:lnTo>
                      <a:pt x="293" y="364"/>
                    </a:lnTo>
                    <a:lnTo>
                      <a:pt x="309" y="348"/>
                    </a:lnTo>
                    <a:lnTo>
                      <a:pt x="320" y="325"/>
                    </a:lnTo>
                    <a:lnTo>
                      <a:pt x="337" y="314"/>
                    </a:lnTo>
                    <a:lnTo>
                      <a:pt x="348" y="314"/>
                    </a:lnTo>
                    <a:lnTo>
                      <a:pt x="364" y="303"/>
                    </a:lnTo>
                    <a:lnTo>
                      <a:pt x="364" y="287"/>
                    </a:lnTo>
                    <a:lnTo>
                      <a:pt x="353" y="270"/>
                    </a:lnTo>
                    <a:lnTo>
                      <a:pt x="353" y="259"/>
                    </a:lnTo>
                    <a:lnTo>
                      <a:pt x="359" y="248"/>
                    </a:lnTo>
                    <a:lnTo>
                      <a:pt x="359" y="237"/>
                    </a:lnTo>
                    <a:lnTo>
                      <a:pt x="348" y="237"/>
                    </a:lnTo>
                    <a:lnTo>
                      <a:pt x="337" y="226"/>
                    </a:lnTo>
                    <a:lnTo>
                      <a:pt x="326" y="221"/>
                    </a:lnTo>
                    <a:lnTo>
                      <a:pt x="326" y="204"/>
                    </a:lnTo>
                    <a:lnTo>
                      <a:pt x="370" y="160"/>
                    </a:lnTo>
                    <a:lnTo>
                      <a:pt x="375" y="154"/>
                    </a:lnTo>
                    <a:lnTo>
                      <a:pt x="386" y="132"/>
                    </a:lnTo>
                    <a:lnTo>
                      <a:pt x="409" y="99"/>
                    </a:lnTo>
                    <a:lnTo>
                      <a:pt x="425" y="72"/>
                    </a:lnTo>
                    <a:lnTo>
                      <a:pt x="442" y="55"/>
                    </a:lnTo>
                    <a:lnTo>
                      <a:pt x="458" y="44"/>
                    </a:lnTo>
                    <a:lnTo>
                      <a:pt x="486" y="33"/>
                    </a:lnTo>
                    <a:lnTo>
                      <a:pt x="524" y="22"/>
                    </a:lnTo>
                    <a:lnTo>
                      <a:pt x="546" y="22"/>
                    </a:lnTo>
                    <a:lnTo>
                      <a:pt x="579" y="11"/>
                    </a:lnTo>
                    <a:lnTo>
                      <a:pt x="635" y="0"/>
                    </a:lnTo>
                    <a:lnTo>
                      <a:pt x="640" y="33"/>
                    </a:lnTo>
                    <a:lnTo>
                      <a:pt x="657" y="83"/>
                    </a:lnTo>
                    <a:lnTo>
                      <a:pt x="662" y="121"/>
                    </a:lnTo>
                    <a:lnTo>
                      <a:pt x="657" y="149"/>
                    </a:lnTo>
                    <a:lnTo>
                      <a:pt x="673" y="182"/>
                    </a:lnTo>
                    <a:lnTo>
                      <a:pt x="684" y="199"/>
                    </a:lnTo>
                    <a:lnTo>
                      <a:pt x="673" y="221"/>
                    </a:lnTo>
                    <a:lnTo>
                      <a:pt x="695" y="226"/>
                    </a:lnTo>
                    <a:lnTo>
                      <a:pt x="701" y="232"/>
                    </a:lnTo>
                    <a:lnTo>
                      <a:pt x="723" y="314"/>
                    </a:lnTo>
                    <a:lnTo>
                      <a:pt x="723" y="348"/>
                    </a:lnTo>
                    <a:lnTo>
                      <a:pt x="717" y="430"/>
                    </a:lnTo>
                    <a:lnTo>
                      <a:pt x="723" y="469"/>
                    </a:lnTo>
                    <a:lnTo>
                      <a:pt x="728" y="496"/>
                    </a:lnTo>
                    <a:lnTo>
                      <a:pt x="739" y="552"/>
                    </a:lnTo>
                    <a:lnTo>
                      <a:pt x="739" y="607"/>
                    </a:lnTo>
                    <a:lnTo>
                      <a:pt x="728" y="623"/>
                    </a:lnTo>
                    <a:lnTo>
                      <a:pt x="745" y="640"/>
                    </a:lnTo>
                    <a:lnTo>
                      <a:pt x="750" y="651"/>
                    </a:lnTo>
                    <a:lnTo>
                      <a:pt x="734" y="668"/>
                    </a:lnTo>
                    <a:lnTo>
                      <a:pt x="739" y="673"/>
                    </a:lnTo>
                    <a:lnTo>
                      <a:pt x="750" y="673"/>
                    </a:lnTo>
                    <a:lnTo>
                      <a:pt x="761" y="662"/>
                    </a:lnTo>
                    <a:lnTo>
                      <a:pt x="778" y="645"/>
                    </a:lnTo>
                    <a:lnTo>
                      <a:pt x="784" y="640"/>
                    </a:lnTo>
                    <a:lnTo>
                      <a:pt x="795" y="645"/>
                    </a:lnTo>
                    <a:lnTo>
                      <a:pt x="811" y="645"/>
                    </a:lnTo>
                    <a:lnTo>
                      <a:pt x="872" y="618"/>
                    </a:lnTo>
                    <a:lnTo>
                      <a:pt x="894" y="596"/>
                    </a:lnTo>
                    <a:lnTo>
                      <a:pt x="899" y="585"/>
                    </a:lnTo>
                    <a:lnTo>
                      <a:pt x="932" y="596"/>
                    </a:lnTo>
                    <a:lnTo>
                      <a:pt x="905" y="623"/>
                    </a:lnTo>
                    <a:lnTo>
                      <a:pt x="877" y="645"/>
                    </a:lnTo>
                    <a:lnTo>
                      <a:pt x="828" y="684"/>
                    </a:lnTo>
                    <a:lnTo>
                      <a:pt x="806" y="690"/>
                    </a:lnTo>
                    <a:lnTo>
                      <a:pt x="767" y="706"/>
                    </a:lnTo>
                    <a:lnTo>
                      <a:pt x="734" y="712"/>
                    </a:lnTo>
                    <a:lnTo>
                      <a:pt x="728" y="712"/>
                    </a:lnTo>
                    <a:lnTo>
                      <a:pt x="723" y="684"/>
                    </a:lnTo>
                    <a:lnTo>
                      <a:pt x="728" y="662"/>
                    </a:lnTo>
                    <a:lnTo>
                      <a:pt x="728" y="645"/>
                    </a:lnTo>
                    <a:lnTo>
                      <a:pt x="706" y="634"/>
                    </a:lnTo>
                    <a:lnTo>
                      <a:pt x="673" y="629"/>
                    </a:lnTo>
                    <a:lnTo>
                      <a:pt x="646" y="618"/>
                    </a:lnTo>
                    <a:lnTo>
                      <a:pt x="618" y="60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4" name="Freeform 20">
                <a:extLst/>
              </p:cNvPr>
              <p:cNvSpPr>
                <a:spLocks/>
              </p:cNvSpPr>
              <p:nvPr/>
            </p:nvSpPr>
            <p:spPr bwMode="auto">
              <a:xfrm>
                <a:off x="10101263" y="2154238"/>
                <a:ext cx="279400" cy="631825"/>
              </a:xfrm>
              <a:custGeom>
                <a:avLst/>
                <a:gdLst>
                  <a:gd name="T0" fmla="*/ 39 w 176"/>
                  <a:gd name="T1" fmla="*/ 0 h 398"/>
                  <a:gd name="T2" fmla="*/ 22 w 176"/>
                  <a:gd name="T3" fmla="*/ 17 h 398"/>
                  <a:gd name="T4" fmla="*/ 22 w 176"/>
                  <a:gd name="T5" fmla="*/ 39 h 398"/>
                  <a:gd name="T6" fmla="*/ 11 w 176"/>
                  <a:gd name="T7" fmla="*/ 67 h 398"/>
                  <a:gd name="T8" fmla="*/ 11 w 176"/>
                  <a:gd name="T9" fmla="*/ 78 h 398"/>
                  <a:gd name="T10" fmla="*/ 17 w 176"/>
                  <a:gd name="T11" fmla="*/ 83 h 398"/>
                  <a:gd name="T12" fmla="*/ 17 w 176"/>
                  <a:gd name="T13" fmla="*/ 105 h 398"/>
                  <a:gd name="T14" fmla="*/ 0 w 176"/>
                  <a:gd name="T15" fmla="*/ 111 h 398"/>
                  <a:gd name="T16" fmla="*/ 5 w 176"/>
                  <a:gd name="T17" fmla="*/ 133 h 398"/>
                  <a:gd name="T18" fmla="*/ 5 w 176"/>
                  <a:gd name="T19" fmla="*/ 138 h 398"/>
                  <a:gd name="T20" fmla="*/ 28 w 176"/>
                  <a:gd name="T21" fmla="*/ 144 h 398"/>
                  <a:gd name="T22" fmla="*/ 33 w 176"/>
                  <a:gd name="T23" fmla="*/ 160 h 398"/>
                  <a:gd name="T24" fmla="*/ 61 w 176"/>
                  <a:gd name="T25" fmla="*/ 177 h 398"/>
                  <a:gd name="T26" fmla="*/ 77 w 176"/>
                  <a:gd name="T27" fmla="*/ 193 h 398"/>
                  <a:gd name="T28" fmla="*/ 77 w 176"/>
                  <a:gd name="T29" fmla="*/ 199 h 398"/>
                  <a:gd name="T30" fmla="*/ 55 w 176"/>
                  <a:gd name="T31" fmla="*/ 221 h 398"/>
                  <a:gd name="T32" fmla="*/ 44 w 176"/>
                  <a:gd name="T33" fmla="*/ 238 h 398"/>
                  <a:gd name="T34" fmla="*/ 33 w 176"/>
                  <a:gd name="T35" fmla="*/ 254 h 398"/>
                  <a:gd name="T36" fmla="*/ 17 w 176"/>
                  <a:gd name="T37" fmla="*/ 265 h 398"/>
                  <a:gd name="T38" fmla="*/ 5 w 176"/>
                  <a:gd name="T39" fmla="*/ 271 h 398"/>
                  <a:gd name="T40" fmla="*/ 5 w 176"/>
                  <a:gd name="T41" fmla="*/ 282 h 398"/>
                  <a:gd name="T42" fmla="*/ 0 w 176"/>
                  <a:gd name="T43" fmla="*/ 298 h 398"/>
                  <a:gd name="T44" fmla="*/ 11 w 176"/>
                  <a:gd name="T45" fmla="*/ 315 h 398"/>
                  <a:gd name="T46" fmla="*/ 33 w 176"/>
                  <a:gd name="T47" fmla="*/ 337 h 398"/>
                  <a:gd name="T48" fmla="*/ 66 w 176"/>
                  <a:gd name="T49" fmla="*/ 353 h 398"/>
                  <a:gd name="T50" fmla="*/ 99 w 176"/>
                  <a:gd name="T51" fmla="*/ 359 h 398"/>
                  <a:gd name="T52" fmla="*/ 99 w 176"/>
                  <a:gd name="T53" fmla="*/ 370 h 398"/>
                  <a:gd name="T54" fmla="*/ 94 w 176"/>
                  <a:gd name="T55" fmla="*/ 376 h 398"/>
                  <a:gd name="T56" fmla="*/ 94 w 176"/>
                  <a:gd name="T57" fmla="*/ 398 h 398"/>
                  <a:gd name="T58" fmla="*/ 99 w 176"/>
                  <a:gd name="T59" fmla="*/ 398 h 398"/>
                  <a:gd name="T60" fmla="*/ 116 w 176"/>
                  <a:gd name="T61" fmla="*/ 381 h 398"/>
                  <a:gd name="T62" fmla="*/ 121 w 176"/>
                  <a:gd name="T63" fmla="*/ 342 h 398"/>
                  <a:gd name="T64" fmla="*/ 143 w 176"/>
                  <a:gd name="T65" fmla="*/ 315 h 398"/>
                  <a:gd name="T66" fmla="*/ 165 w 176"/>
                  <a:gd name="T67" fmla="*/ 265 h 398"/>
                  <a:gd name="T68" fmla="*/ 176 w 176"/>
                  <a:gd name="T69" fmla="*/ 227 h 398"/>
                  <a:gd name="T70" fmla="*/ 171 w 176"/>
                  <a:gd name="T71" fmla="*/ 216 h 398"/>
                  <a:gd name="T72" fmla="*/ 165 w 176"/>
                  <a:gd name="T73" fmla="*/ 149 h 398"/>
                  <a:gd name="T74" fmla="*/ 154 w 176"/>
                  <a:gd name="T75" fmla="*/ 122 h 398"/>
                  <a:gd name="T76" fmla="*/ 149 w 176"/>
                  <a:gd name="T77" fmla="*/ 127 h 398"/>
                  <a:gd name="T78" fmla="*/ 127 w 176"/>
                  <a:gd name="T79" fmla="*/ 133 h 398"/>
                  <a:gd name="T80" fmla="*/ 127 w 176"/>
                  <a:gd name="T81" fmla="*/ 127 h 398"/>
                  <a:gd name="T82" fmla="*/ 132 w 176"/>
                  <a:gd name="T83" fmla="*/ 122 h 398"/>
                  <a:gd name="T84" fmla="*/ 149 w 176"/>
                  <a:gd name="T85" fmla="*/ 105 h 398"/>
                  <a:gd name="T86" fmla="*/ 149 w 176"/>
                  <a:gd name="T87" fmla="*/ 100 h 398"/>
                  <a:gd name="T88" fmla="*/ 143 w 176"/>
                  <a:gd name="T89" fmla="*/ 72 h 398"/>
                  <a:gd name="T90" fmla="*/ 149 w 176"/>
                  <a:gd name="T91" fmla="*/ 56 h 398"/>
                  <a:gd name="T92" fmla="*/ 149 w 176"/>
                  <a:gd name="T93" fmla="*/ 39 h 398"/>
                  <a:gd name="T94" fmla="*/ 127 w 176"/>
                  <a:gd name="T95" fmla="*/ 28 h 398"/>
                  <a:gd name="T96" fmla="*/ 94 w 176"/>
                  <a:gd name="T97" fmla="*/ 22 h 398"/>
                  <a:gd name="T98" fmla="*/ 66 w 176"/>
                  <a:gd name="T99" fmla="*/ 11 h 398"/>
                  <a:gd name="T100" fmla="*/ 39 w 176"/>
                  <a:gd name="T10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6" h="398">
                    <a:moveTo>
                      <a:pt x="39" y="0"/>
                    </a:moveTo>
                    <a:lnTo>
                      <a:pt x="22" y="17"/>
                    </a:lnTo>
                    <a:lnTo>
                      <a:pt x="22" y="39"/>
                    </a:lnTo>
                    <a:lnTo>
                      <a:pt x="11" y="67"/>
                    </a:lnTo>
                    <a:lnTo>
                      <a:pt x="11" y="78"/>
                    </a:lnTo>
                    <a:lnTo>
                      <a:pt x="17" y="83"/>
                    </a:lnTo>
                    <a:lnTo>
                      <a:pt x="17" y="105"/>
                    </a:lnTo>
                    <a:lnTo>
                      <a:pt x="0" y="111"/>
                    </a:lnTo>
                    <a:lnTo>
                      <a:pt x="5" y="133"/>
                    </a:lnTo>
                    <a:lnTo>
                      <a:pt x="5" y="138"/>
                    </a:lnTo>
                    <a:lnTo>
                      <a:pt x="28" y="144"/>
                    </a:lnTo>
                    <a:lnTo>
                      <a:pt x="33" y="160"/>
                    </a:lnTo>
                    <a:lnTo>
                      <a:pt x="61" y="177"/>
                    </a:lnTo>
                    <a:lnTo>
                      <a:pt x="77" y="193"/>
                    </a:lnTo>
                    <a:lnTo>
                      <a:pt x="77" y="199"/>
                    </a:lnTo>
                    <a:lnTo>
                      <a:pt x="55" y="221"/>
                    </a:lnTo>
                    <a:lnTo>
                      <a:pt x="44" y="238"/>
                    </a:lnTo>
                    <a:lnTo>
                      <a:pt x="33" y="254"/>
                    </a:lnTo>
                    <a:lnTo>
                      <a:pt x="17" y="265"/>
                    </a:lnTo>
                    <a:lnTo>
                      <a:pt x="5" y="271"/>
                    </a:lnTo>
                    <a:lnTo>
                      <a:pt x="5" y="282"/>
                    </a:lnTo>
                    <a:lnTo>
                      <a:pt x="0" y="298"/>
                    </a:lnTo>
                    <a:lnTo>
                      <a:pt x="11" y="315"/>
                    </a:lnTo>
                    <a:lnTo>
                      <a:pt x="33" y="337"/>
                    </a:lnTo>
                    <a:lnTo>
                      <a:pt x="66" y="353"/>
                    </a:lnTo>
                    <a:lnTo>
                      <a:pt x="99" y="359"/>
                    </a:lnTo>
                    <a:lnTo>
                      <a:pt x="99" y="370"/>
                    </a:lnTo>
                    <a:lnTo>
                      <a:pt x="94" y="376"/>
                    </a:lnTo>
                    <a:lnTo>
                      <a:pt x="94" y="398"/>
                    </a:lnTo>
                    <a:lnTo>
                      <a:pt x="99" y="398"/>
                    </a:lnTo>
                    <a:lnTo>
                      <a:pt x="116" y="381"/>
                    </a:lnTo>
                    <a:lnTo>
                      <a:pt x="121" y="342"/>
                    </a:lnTo>
                    <a:lnTo>
                      <a:pt x="143" y="315"/>
                    </a:lnTo>
                    <a:lnTo>
                      <a:pt x="165" y="265"/>
                    </a:lnTo>
                    <a:lnTo>
                      <a:pt x="176" y="227"/>
                    </a:lnTo>
                    <a:lnTo>
                      <a:pt x="171" y="216"/>
                    </a:lnTo>
                    <a:lnTo>
                      <a:pt x="165" y="149"/>
                    </a:lnTo>
                    <a:lnTo>
                      <a:pt x="154" y="122"/>
                    </a:lnTo>
                    <a:lnTo>
                      <a:pt x="149" y="127"/>
                    </a:lnTo>
                    <a:lnTo>
                      <a:pt x="127" y="133"/>
                    </a:lnTo>
                    <a:lnTo>
                      <a:pt x="127" y="127"/>
                    </a:lnTo>
                    <a:lnTo>
                      <a:pt x="132" y="122"/>
                    </a:lnTo>
                    <a:lnTo>
                      <a:pt x="149" y="105"/>
                    </a:lnTo>
                    <a:lnTo>
                      <a:pt x="149" y="100"/>
                    </a:lnTo>
                    <a:lnTo>
                      <a:pt x="143" y="72"/>
                    </a:lnTo>
                    <a:lnTo>
                      <a:pt x="149" y="56"/>
                    </a:lnTo>
                    <a:lnTo>
                      <a:pt x="149" y="39"/>
                    </a:lnTo>
                    <a:lnTo>
                      <a:pt x="127" y="28"/>
                    </a:lnTo>
                    <a:lnTo>
                      <a:pt x="94" y="22"/>
                    </a:lnTo>
                    <a:lnTo>
                      <a:pt x="66" y="11"/>
                    </a:lnTo>
                    <a:lnTo>
                      <a:pt x="39" y="0"/>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5" name="Freeform 21">
                <a:extLst/>
              </p:cNvPr>
              <p:cNvSpPr>
                <a:spLocks/>
              </p:cNvSpPr>
              <p:nvPr/>
            </p:nvSpPr>
            <p:spPr bwMode="auto">
              <a:xfrm>
                <a:off x="9050338" y="2024063"/>
                <a:ext cx="1155700" cy="752475"/>
              </a:xfrm>
              <a:custGeom>
                <a:avLst/>
                <a:gdLst>
                  <a:gd name="T0" fmla="*/ 656 w 728"/>
                  <a:gd name="T1" fmla="*/ 347 h 474"/>
                  <a:gd name="T2" fmla="*/ 667 w 728"/>
                  <a:gd name="T3" fmla="*/ 342 h 474"/>
                  <a:gd name="T4" fmla="*/ 684 w 728"/>
                  <a:gd name="T5" fmla="*/ 342 h 474"/>
                  <a:gd name="T6" fmla="*/ 695 w 728"/>
                  <a:gd name="T7" fmla="*/ 320 h 474"/>
                  <a:gd name="T8" fmla="*/ 706 w 728"/>
                  <a:gd name="T9" fmla="*/ 303 h 474"/>
                  <a:gd name="T10" fmla="*/ 728 w 728"/>
                  <a:gd name="T11" fmla="*/ 281 h 474"/>
                  <a:gd name="T12" fmla="*/ 728 w 728"/>
                  <a:gd name="T13" fmla="*/ 275 h 474"/>
                  <a:gd name="T14" fmla="*/ 712 w 728"/>
                  <a:gd name="T15" fmla="*/ 264 h 474"/>
                  <a:gd name="T16" fmla="*/ 684 w 728"/>
                  <a:gd name="T17" fmla="*/ 242 h 474"/>
                  <a:gd name="T18" fmla="*/ 679 w 728"/>
                  <a:gd name="T19" fmla="*/ 226 h 474"/>
                  <a:gd name="T20" fmla="*/ 656 w 728"/>
                  <a:gd name="T21" fmla="*/ 220 h 474"/>
                  <a:gd name="T22" fmla="*/ 656 w 728"/>
                  <a:gd name="T23" fmla="*/ 215 h 474"/>
                  <a:gd name="T24" fmla="*/ 651 w 728"/>
                  <a:gd name="T25" fmla="*/ 193 h 474"/>
                  <a:gd name="T26" fmla="*/ 667 w 728"/>
                  <a:gd name="T27" fmla="*/ 187 h 474"/>
                  <a:gd name="T28" fmla="*/ 667 w 728"/>
                  <a:gd name="T29" fmla="*/ 171 h 474"/>
                  <a:gd name="T30" fmla="*/ 656 w 728"/>
                  <a:gd name="T31" fmla="*/ 160 h 474"/>
                  <a:gd name="T32" fmla="*/ 662 w 728"/>
                  <a:gd name="T33" fmla="*/ 149 h 474"/>
                  <a:gd name="T34" fmla="*/ 673 w 728"/>
                  <a:gd name="T35" fmla="*/ 126 h 474"/>
                  <a:gd name="T36" fmla="*/ 673 w 728"/>
                  <a:gd name="T37" fmla="*/ 99 h 474"/>
                  <a:gd name="T38" fmla="*/ 690 w 728"/>
                  <a:gd name="T39" fmla="*/ 82 h 474"/>
                  <a:gd name="T40" fmla="*/ 695 w 728"/>
                  <a:gd name="T41" fmla="*/ 77 h 474"/>
                  <a:gd name="T42" fmla="*/ 673 w 728"/>
                  <a:gd name="T43" fmla="*/ 77 h 474"/>
                  <a:gd name="T44" fmla="*/ 656 w 728"/>
                  <a:gd name="T45" fmla="*/ 60 h 474"/>
                  <a:gd name="T46" fmla="*/ 640 w 728"/>
                  <a:gd name="T47" fmla="*/ 22 h 474"/>
                  <a:gd name="T48" fmla="*/ 618 w 728"/>
                  <a:gd name="T49" fmla="*/ 16 h 474"/>
                  <a:gd name="T50" fmla="*/ 601 w 728"/>
                  <a:gd name="T51" fmla="*/ 0 h 474"/>
                  <a:gd name="T52" fmla="*/ 463 w 728"/>
                  <a:gd name="T53" fmla="*/ 27 h 474"/>
                  <a:gd name="T54" fmla="*/ 149 w 728"/>
                  <a:gd name="T55" fmla="*/ 93 h 474"/>
                  <a:gd name="T56" fmla="*/ 83 w 728"/>
                  <a:gd name="T57" fmla="*/ 104 h 474"/>
                  <a:gd name="T58" fmla="*/ 77 w 728"/>
                  <a:gd name="T59" fmla="*/ 49 h 474"/>
                  <a:gd name="T60" fmla="*/ 39 w 728"/>
                  <a:gd name="T61" fmla="*/ 93 h 474"/>
                  <a:gd name="T62" fmla="*/ 28 w 728"/>
                  <a:gd name="T63" fmla="*/ 93 h 474"/>
                  <a:gd name="T64" fmla="*/ 0 w 728"/>
                  <a:gd name="T65" fmla="*/ 115 h 474"/>
                  <a:gd name="T66" fmla="*/ 17 w 728"/>
                  <a:gd name="T67" fmla="*/ 259 h 474"/>
                  <a:gd name="T68" fmla="*/ 39 w 728"/>
                  <a:gd name="T69" fmla="*/ 331 h 474"/>
                  <a:gd name="T70" fmla="*/ 66 w 728"/>
                  <a:gd name="T71" fmla="*/ 474 h 474"/>
                  <a:gd name="T72" fmla="*/ 88 w 728"/>
                  <a:gd name="T73" fmla="*/ 469 h 474"/>
                  <a:gd name="T74" fmla="*/ 177 w 728"/>
                  <a:gd name="T75" fmla="*/ 458 h 474"/>
                  <a:gd name="T76" fmla="*/ 452 w 728"/>
                  <a:gd name="T77" fmla="*/ 402 h 474"/>
                  <a:gd name="T78" fmla="*/ 563 w 728"/>
                  <a:gd name="T79" fmla="*/ 380 h 474"/>
                  <a:gd name="T80" fmla="*/ 623 w 728"/>
                  <a:gd name="T81" fmla="*/ 369 h 474"/>
                  <a:gd name="T82" fmla="*/ 629 w 728"/>
                  <a:gd name="T83" fmla="*/ 364 h 474"/>
                  <a:gd name="T84" fmla="*/ 640 w 728"/>
                  <a:gd name="T85" fmla="*/ 353 h 474"/>
                  <a:gd name="T86" fmla="*/ 656 w 728"/>
                  <a:gd name="T87" fmla="*/ 34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8" h="474">
                    <a:moveTo>
                      <a:pt x="656" y="347"/>
                    </a:moveTo>
                    <a:lnTo>
                      <a:pt x="667" y="342"/>
                    </a:lnTo>
                    <a:lnTo>
                      <a:pt x="684" y="342"/>
                    </a:lnTo>
                    <a:lnTo>
                      <a:pt x="695" y="320"/>
                    </a:lnTo>
                    <a:lnTo>
                      <a:pt x="706" y="303"/>
                    </a:lnTo>
                    <a:lnTo>
                      <a:pt x="728" y="281"/>
                    </a:lnTo>
                    <a:lnTo>
                      <a:pt x="728" y="275"/>
                    </a:lnTo>
                    <a:lnTo>
                      <a:pt x="712" y="264"/>
                    </a:lnTo>
                    <a:lnTo>
                      <a:pt x="684" y="242"/>
                    </a:lnTo>
                    <a:lnTo>
                      <a:pt x="679" y="226"/>
                    </a:lnTo>
                    <a:lnTo>
                      <a:pt x="656" y="220"/>
                    </a:lnTo>
                    <a:lnTo>
                      <a:pt x="656" y="215"/>
                    </a:lnTo>
                    <a:lnTo>
                      <a:pt x="651" y="193"/>
                    </a:lnTo>
                    <a:lnTo>
                      <a:pt x="667" y="187"/>
                    </a:lnTo>
                    <a:lnTo>
                      <a:pt x="667" y="171"/>
                    </a:lnTo>
                    <a:lnTo>
                      <a:pt x="656" y="160"/>
                    </a:lnTo>
                    <a:lnTo>
                      <a:pt x="662" y="149"/>
                    </a:lnTo>
                    <a:lnTo>
                      <a:pt x="673" y="126"/>
                    </a:lnTo>
                    <a:lnTo>
                      <a:pt x="673" y="99"/>
                    </a:lnTo>
                    <a:lnTo>
                      <a:pt x="690" y="82"/>
                    </a:lnTo>
                    <a:lnTo>
                      <a:pt x="695" y="77"/>
                    </a:lnTo>
                    <a:lnTo>
                      <a:pt x="673" y="77"/>
                    </a:lnTo>
                    <a:lnTo>
                      <a:pt x="656" y="60"/>
                    </a:lnTo>
                    <a:lnTo>
                      <a:pt x="640" y="22"/>
                    </a:lnTo>
                    <a:lnTo>
                      <a:pt x="618" y="16"/>
                    </a:lnTo>
                    <a:lnTo>
                      <a:pt x="601" y="0"/>
                    </a:lnTo>
                    <a:lnTo>
                      <a:pt x="463" y="27"/>
                    </a:lnTo>
                    <a:lnTo>
                      <a:pt x="149" y="93"/>
                    </a:lnTo>
                    <a:lnTo>
                      <a:pt x="83" y="104"/>
                    </a:lnTo>
                    <a:lnTo>
                      <a:pt x="77" y="49"/>
                    </a:lnTo>
                    <a:lnTo>
                      <a:pt x="39" y="93"/>
                    </a:lnTo>
                    <a:lnTo>
                      <a:pt x="28" y="93"/>
                    </a:lnTo>
                    <a:lnTo>
                      <a:pt x="0" y="115"/>
                    </a:lnTo>
                    <a:lnTo>
                      <a:pt x="17" y="259"/>
                    </a:lnTo>
                    <a:lnTo>
                      <a:pt x="39" y="331"/>
                    </a:lnTo>
                    <a:lnTo>
                      <a:pt x="66" y="474"/>
                    </a:lnTo>
                    <a:lnTo>
                      <a:pt x="88" y="469"/>
                    </a:lnTo>
                    <a:lnTo>
                      <a:pt x="177" y="458"/>
                    </a:lnTo>
                    <a:lnTo>
                      <a:pt x="452" y="402"/>
                    </a:lnTo>
                    <a:lnTo>
                      <a:pt x="563" y="380"/>
                    </a:lnTo>
                    <a:lnTo>
                      <a:pt x="623" y="369"/>
                    </a:lnTo>
                    <a:lnTo>
                      <a:pt x="629" y="364"/>
                    </a:lnTo>
                    <a:lnTo>
                      <a:pt x="640" y="353"/>
                    </a:lnTo>
                    <a:lnTo>
                      <a:pt x="656" y="34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6" name="Freeform 22">
                <a:extLst/>
              </p:cNvPr>
              <p:cNvSpPr>
                <a:spLocks/>
              </p:cNvSpPr>
              <p:nvPr/>
            </p:nvSpPr>
            <p:spPr bwMode="auto">
              <a:xfrm>
                <a:off x="10048875" y="2584450"/>
                <a:ext cx="219075" cy="341313"/>
              </a:xfrm>
              <a:custGeom>
                <a:avLst/>
                <a:gdLst>
                  <a:gd name="T0" fmla="*/ 27 w 138"/>
                  <a:gd name="T1" fmla="*/ 27 h 215"/>
                  <a:gd name="T2" fmla="*/ 33 w 138"/>
                  <a:gd name="T3" fmla="*/ 11 h 215"/>
                  <a:gd name="T4" fmla="*/ 33 w 138"/>
                  <a:gd name="T5" fmla="*/ 0 h 215"/>
                  <a:gd name="T6" fmla="*/ 27 w 138"/>
                  <a:gd name="T7" fmla="*/ 0 h 215"/>
                  <a:gd name="T8" fmla="*/ 11 w 138"/>
                  <a:gd name="T9" fmla="*/ 11 h 215"/>
                  <a:gd name="T10" fmla="*/ 0 w 138"/>
                  <a:gd name="T11" fmla="*/ 22 h 215"/>
                  <a:gd name="T12" fmla="*/ 11 w 138"/>
                  <a:gd name="T13" fmla="*/ 55 h 215"/>
                  <a:gd name="T14" fmla="*/ 27 w 138"/>
                  <a:gd name="T15" fmla="*/ 93 h 215"/>
                  <a:gd name="T16" fmla="*/ 44 w 138"/>
                  <a:gd name="T17" fmla="*/ 165 h 215"/>
                  <a:gd name="T18" fmla="*/ 55 w 138"/>
                  <a:gd name="T19" fmla="*/ 215 h 215"/>
                  <a:gd name="T20" fmla="*/ 88 w 138"/>
                  <a:gd name="T21" fmla="*/ 209 h 215"/>
                  <a:gd name="T22" fmla="*/ 138 w 138"/>
                  <a:gd name="T23" fmla="*/ 204 h 215"/>
                  <a:gd name="T24" fmla="*/ 121 w 138"/>
                  <a:gd name="T25" fmla="*/ 149 h 215"/>
                  <a:gd name="T26" fmla="*/ 110 w 138"/>
                  <a:gd name="T27" fmla="*/ 154 h 215"/>
                  <a:gd name="T28" fmla="*/ 88 w 138"/>
                  <a:gd name="T29" fmla="*/ 132 h 215"/>
                  <a:gd name="T30" fmla="*/ 72 w 138"/>
                  <a:gd name="T31" fmla="*/ 99 h 215"/>
                  <a:gd name="T32" fmla="*/ 61 w 138"/>
                  <a:gd name="T33" fmla="*/ 71 h 215"/>
                  <a:gd name="T34" fmla="*/ 44 w 138"/>
                  <a:gd name="T35" fmla="*/ 66 h 215"/>
                  <a:gd name="T36" fmla="*/ 27 w 138"/>
                  <a:gd name="T37" fmla="*/ 38 h 215"/>
                  <a:gd name="T38" fmla="*/ 27 w 138"/>
                  <a:gd name="T39" fmla="*/ 2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215">
                    <a:moveTo>
                      <a:pt x="27" y="27"/>
                    </a:moveTo>
                    <a:lnTo>
                      <a:pt x="33" y="11"/>
                    </a:lnTo>
                    <a:lnTo>
                      <a:pt x="33" y="0"/>
                    </a:lnTo>
                    <a:lnTo>
                      <a:pt x="27" y="0"/>
                    </a:lnTo>
                    <a:lnTo>
                      <a:pt x="11" y="11"/>
                    </a:lnTo>
                    <a:lnTo>
                      <a:pt x="0" y="22"/>
                    </a:lnTo>
                    <a:lnTo>
                      <a:pt x="11" y="55"/>
                    </a:lnTo>
                    <a:lnTo>
                      <a:pt x="27" y="93"/>
                    </a:lnTo>
                    <a:lnTo>
                      <a:pt x="44" y="165"/>
                    </a:lnTo>
                    <a:lnTo>
                      <a:pt x="55" y="215"/>
                    </a:lnTo>
                    <a:lnTo>
                      <a:pt x="88" y="209"/>
                    </a:lnTo>
                    <a:lnTo>
                      <a:pt x="138" y="204"/>
                    </a:lnTo>
                    <a:lnTo>
                      <a:pt x="121" y="149"/>
                    </a:lnTo>
                    <a:lnTo>
                      <a:pt x="110" y="154"/>
                    </a:lnTo>
                    <a:lnTo>
                      <a:pt x="88" y="132"/>
                    </a:lnTo>
                    <a:lnTo>
                      <a:pt x="72" y="99"/>
                    </a:lnTo>
                    <a:lnTo>
                      <a:pt x="61" y="71"/>
                    </a:lnTo>
                    <a:lnTo>
                      <a:pt x="44" y="66"/>
                    </a:lnTo>
                    <a:lnTo>
                      <a:pt x="27" y="38"/>
                    </a:lnTo>
                    <a:lnTo>
                      <a:pt x="27" y="2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7" name="Freeform 23">
                <a:extLst/>
              </p:cNvPr>
              <p:cNvSpPr>
                <a:spLocks noEditPoints="1"/>
              </p:cNvSpPr>
              <p:nvPr/>
            </p:nvSpPr>
            <p:spPr bwMode="auto">
              <a:xfrm>
                <a:off x="9339263" y="2619374"/>
                <a:ext cx="928688" cy="473075"/>
              </a:xfrm>
              <a:custGeom>
                <a:avLst/>
                <a:gdLst>
                  <a:gd name="T0" fmla="*/ 98 w 106"/>
                  <a:gd name="T1" fmla="*/ 35 h 54"/>
                  <a:gd name="T2" fmla="*/ 88 w 106"/>
                  <a:gd name="T3" fmla="*/ 26 h 54"/>
                  <a:gd name="T4" fmla="*/ 82 w 106"/>
                  <a:gd name="T5" fmla="*/ 6 h 54"/>
                  <a:gd name="T6" fmla="*/ 70 w 106"/>
                  <a:gd name="T7" fmla="*/ 2 h 54"/>
                  <a:gd name="T8" fmla="*/ 0 w 106"/>
                  <a:gd name="T9" fmla="*/ 16 h 54"/>
                  <a:gd name="T10" fmla="*/ 3 w 106"/>
                  <a:gd name="T11" fmla="*/ 30 h 54"/>
                  <a:gd name="T12" fmla="*/ 6 w 106"/>
                  <a:gd name="T13" fmla="*/ 26 h 54"/>
                  <a:gd name="T14" fmla="*/ 13 w 106"/>
                  <a:gd name="T15" fmla="*/ 22 h 54"/>
                  <a:gd name="T16" fmla="*/ 17 w 106"/>
                  <a:gd name="T17" fmla="*/ 17 h 54"/>
                  <a:gd name="T18" fmla="*/ 22 w 106"/>
                  <a:gd name="T19" fmla="*/ 17 h 54"/>
                  <a:gd name="T20" fmla="*/ 29 w 106"/>
                  <a:gd name="T21" fmla="*/ 12 h 54"/>
                  <a:gd name="T22" fmla="*/ 33 w 106"/>
                  <a:gd name="T23" fmla="*/ 13 h 54"/>
                  <a:gd name="T24" fmla="*/ 40 w 106"/>
                  <a:gd name="T25" fmla="*/ 18 h 54"/>
                  <a:gd name="T26" fmla="*/ 47 w 106"/>
                  <a:gd name="T27" fmla="*/ 22 h 54"/>
                  <a:gd name="T28" fmla="*/ 54 w 106"/>
                  <a:gd name="T29" fmla="*/ 28 h 54"/>
                  <a:gd name="T30" fmla="*/ 58 w 106"/>
                  <a:gd name="T31" fmla="*/ 26 h 54"/>
                  <a:gd name="T32" fmla="*/ 60 w 106"/>
                  <a:gd name="T33" fmla="*/ 31 h 54"/>
                  <a:gd name="T34" fmla="*/ 56 w 106"/>
                  <a:gd name="T35" fmla="*/ 40 h 54"/>
                  <a:gd name="T36" fmla="*/ 57 w 106"/>
                  <a:gd name="T37" fmla="*/ 45 h 54"/>
                  <a:gd name="T38" fmla="*/ 70 w 106"/>
                  <a:gd name="T39" fmla="*/ 47 h 54"/>
                  <a:gd name="T40" fmla="*/ 77 w 106"/>
                  <a:gd name="T41" fmla="*/ 49 h 54"/>
                  <a:gd name="T42" fmla="*/ 76 w 106"/>
                  <a:gd name="T43" fmla="*/ 43 h 54"/>
                  <a:gd name="T44" fmla="*/ 73 w 106"/>
                  <a:gd name="T45" fmla="*/ 38 h 54"/>
                  <a:gd name="T46" fmla="*/ 72 w 106"/>
                  <a:gd name="T47" fmla="*/ 24 h 54"/>
                  <a:gd name="T48" fmla="*/ 70 w 106"/>
                  <a:gd name="T49" fmla="*/ 19 h 54"/>
                  <a:gd name="T50" fmla="*/ 72 w 106"/>
                  <a:gd name="T51" fmla="*/ 13 h 54"/>
                  <a:gd name="T52" fmla="*/ 77 w 106"/>
                  <a:gd name="T53" fmla="*/ 9 h 54"/>
                  <a:gd name="T54" fmla="*/ 76 w 106"/>
                  <a:gd name="T55" fmla="*/ 13 h 54"/>
                  <a:gd name="T56" fmla="*/ 75 w 106"/>
                  <a:gd name="T57" fmla="*/ 19 h 54"/>
                  <a:gd name="T58" fmla="*/ 78 w 106"/>
                  <a:gd name="T59" fmla="*/ 27 h 54"/>
                  <a:gd name="T60" fmla="*/ 75 w 106"/>
                  <a:gd name="T61" fmla="*/ 33 h 54"/>
                  <a:gd name="T62" fmla="*/ 78 w 106"/>
                  <a:gd name="T63" fmla="*/ 30 h 54"/>
                  <a:gd name="T64" fmla="*/ 78 w 106"/>
                  <a:gd name="T65" fmla="*/ 34 h 54"/>
                  <a:gd name="T66" fmla="*/ 81 w 106"/>
                  <a:gd name="T67" fmla="*/ 43 h 54"/>
                  <a:gd name="T68" fmla="*/ 88 w 106"/>
                  <a:gd name="T69" fmla="*/ 43 h 54"/>
                  <a:gd name="T70" fmla="*/ 94 w 106"/>
                  <a:gd name="T71" fmla="*/ 49 h 54"/>
                  <a:gd name="T72" fmla="*/ 106 w 106"/>
                  <a:gd name="T73" fmla="*/ 40 h 54"/>
                  <a:gd name="T74" fmla="*/ 84 w 106"/>
                  <a:gd name="T75" fmla="*/ 46 h 54"/>
                  <a:gd name="T76" fmla="*/ 85 w 106"/>
                  <a:gd name="T77" fmla="*/ 51 h 54"/>
                  <a:gd name="T78" fmla="*/ 88 w 106"/>
                  <a:gd name="T79" fmla="*/ 52 h 54"/>
                  <a:gd name="T80" fmla="*/ 86 w 106"/>
                  <a:gd name="T81" fmla="*/ 4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6" h="54">
                    <a:moveTo>
                      <a:pt x="106" y="34"/>
                    </a:moveTo>
                    <a:cubicBezTo>
                      <a:pt x="98" y="35"/>
                      <a:pt x="98" y="35"/>
                      <a:pt x="98" y="35"/>
                    </a:cubicBezTo>
                    <a:cubicBezTo>
                      <a:pt x="90" y="36"/>
                      <a:pt x="90" y="36"/>
                      <a:pt x="90" y="36"/>
                    </a:cubicBezTo>
                    <a:cubicBezTo>
                      <a:pt x="88" y="26"/>
                      <a:pt x="88" y="26"/>
                      <a:pt x="88" y="26"/>
                    </a:cubicBezTo>
                    <a:cubicBezTo>
                      <a:pt x="85" y="13"/>
                      <a:pt x="85" y="13"/>
                      <a:pt x="85" y="13"/>
                    </a:cubicBezTo>
                    <a:cubicBezTo>
                      <a:pt x="82" y="6"/>
                      <a:pt x="82" y="6"/>
                      <a:pt x="82" y="6"/>
                    </a:cubicBezTo>
                    <a:cubicBezTo>
                      <a:pt x="80" y="0"/>
                      <a:pt x="80" y="0"/>
                      <a:pt x="80" y="0"/>
                    </a:cubicBezTo>
                    <a:cubicBezTo>
                      <a:pt x="70" y="2"/>
                      <a:pt x="70" y="2"/>
                      <a:pt x="70" y="2"/>
                    </a:cubicBezTo>
                    <a:cubicBezTo>
                      <a:pt x="50" y="6"/>
                      <a:pt x="50" y="6"/>
                      <a:pt x="50" y="6"/>
                    </a:cubicBezTo>
                    <a:cubicBezTo>
                      <a:pt x="0" y="16"/>
                      <a:pt x="0" y="16"/>
                      <a:pt x="0" y="16"/>
                    </a:cubicBezTo>
                    <a:cubicBezTo>
                      <a:pt x="2" y="23"/>
                      <a:pt x="2" y="23"/>
                      <a:pt x="2" y="23"/>
                    </a:cubicBezTo>
                    <a:cubicBezTo>
                      <a:pt x="3" y="30"/>
                      <a:pt x="3" y="30"/>
                      <a:pt x="3" y="30"/>
                    </a:cubicBezTo>
                    <a:cubicBezTo>
                      <a:pt x="3" y="30"/>
                      <a:pt x="3" y="30"/>
                      <a:pt x="3" y="30"/>
                    </a:cubicBezTo>
                    <a:cubicBezTo>
                      <a:pt x="6" y="26"/>
                      <a:pt x="6" y="26"/>
                      <a:pt x="6" y="26"/>
                    </a:cubicBezTo>
                    <a:cubicBezTo>
                      <a:pt x="9" y="23"/>
                      <a:pt x="9" y="23"/>
                      <a:pt x="9" y="23"/>
                    </a:cubicBezTo>
                    <a:cubicBezTo>
                      <a:pt x="13" y="22"/>
                      <a:pt x="13" y="22"/>
                      <a:pt x="13" y="22"/>
                    </a:cubicBezTo>
                    <a:cubicBezTo>
                      <a:pt x="14" y="20"/>
                      <a:pt x="14" y="20"/>
                      <a:pt x="14" y="20"/>
                    </a:cubicBezTo>
                    <a:cubicBezTo>
                      <a:pt x="17" y="17"/>
                      <a:pt x="17" y="17"/>
                      <a:pt x="17" y="17"/>
                    </a:cubicBezTo>
                    <a:cubicBezTo>
                      <a:pt x="19" y="18"/>
                      <a:pt x="19" y="18"/>
                      <a:pt x="19" y="18"/>
                    </a:cubicBezTo>
                    <a:cubicBezTo>
                      <a:pt x="22" y="17"/>
                      <a:pt x="22" y="17"/>
                      <a:pt x="22" y="17"/>
                    </a:cubicBezTo>
                    <a:cubicBezTo>
                      <a:pt x="26" y="14"/>
                      <a:pt x="26" y="14"/>
                      <a:pt x="26" y="14"/>
                    </a:cubicBezTo>
                    <a:cubicBezTo>
                      <a:pt x="29" y="12"/>
                      <a:pt x="29" y="12"/>
                      <a:pt x="29" y="12"/>
                    </a:cubicBezTo>
                    <a:cubicBezTo>
                      <a:pt x="31" y="12"/>
                      <a:pt x="31" y="12"/>
                      <a:pt x="31" y="12"/>
                    </a:cubicBezTo>
                    <a:cubicBezTo>
                      <a:pt x="33" y="13"/>
                      <a:pt x="33" y="13"/>
                      <a:pt x="33" y="13"/>
                    </a:cubicBezTo>
                    <a:cubicBezTo>
                      <a:pt x="37" y="15"/>
                      <a:pt x="37" y="15"/>
                      <a:pt x="37" y="15"/>
                    </a:cubicBezTo>
                    <a:cubicBezTo>
                      <a:pt x="40" y="18"/>
                      <a:pt x="40" y="18"/>
                      <a:pt x="40" y="18"/>
                    </a:cubicBezTo>
                    <a:cubicBezTo>
                      <a:pt x="41" y="20"/>
                      <a:pt x="41" y="20"/>
                      <a:pt x="41" y="20"/>
                    </a:cubicBezTo>
                    <a:cubicBezTo>
                      <a:pt x="47" y="22"/>
                      <a:pt x="47" y="22"/>
                      <a:pt x="47" y="22"/>
                    </a:cubicBezTo>
                    <a:cubicBezTo>
                      <a:pt x="47" y="26"/>
                      <a:pt x="47" y="26"/>
                      <a:pt x="47" y="26"/>
                    </a:cubicBezTo>
                    <a:cubicBezTo>
                      <a:pt x="54" y="28"/>
                      <a:pt x="54" y="28"/>
                      <a:pt x="54" y="28"/>
                    </a:cubicBezTo>
                    <a:cubicBezTo>
                      <a:pt x="56" y="28"/>
                      <a:pt x="56" y="28"/>
                      <a:pt x="56" y="28"/>
                    </a:cubicBezTo>
                    <a:cubicBezTo>
                      <a:pt x="58" y="26"/>
                      <a:pt x="58" y="26"/>
                      <a:pt x="58" y="26"/>
                    </a:cubicBezTo>
                    <a:cubicBezTo>
                      <a:pt x="61" y="28"/>
                      <a:pt x="61" y="28"/>
                      <a:pt x="61" y="28"/>
                    </a:cubicBezTo>
                    <a:cubicBezTo>
                      <a:pt x="60" y="31"/>
                      <a:pt x="60" y="31"/>
                      <a:pt x="60" y="31"/>
                    </a:cubicBezTo>
                    <a:cubicBezTo>
                      <a:pt x="59" y="37"/>
                      <a:pt x="59" y="37"/>
                      <a:pt x="59" y="37"/>
                    </a:cubicBezTo>
                    <a:cubicBezTo>
                      <a:pt x="56" y="40"/>
                      <a:pt x="56" y="40"/>
                      <a:pt x="56" y="40"/>
                    </a:cubicBezTo>
                    <a:cubicBezTo>
                      <a:pt x="56" y="43"/>
                      <a:pt x="56" y="43"/>
                      <a:pt x="56" y="43"/>
                    </a:cubicBezTo>
                    <a:cubicBezTo>
                      <a:pt x="57" y="45"/>
                      <a:pt x="57" y="45"/>
                      <a:pt x="57" y="45"/>
                    </a:cubicBezTo>
                    <a:cubicBezTo>
                      <a:pt x="64" y="47"/>
                      <a:pt x="64" y="47"/>
                      <a:pt x="64" y="47"/>
                    </a:cubicBezTo>
                    <a:cubicBezTo>
                      <a:pt x="70" y="47"/>
                      <a:pt x="70" y="47"/>
                      <a:pt x="70" y="47"/>
                    </a:cubicBezTo>
                    <a:cubicBezTo>
                      <a:pt x="74" y="48"/>
                      <a:pt x="74" y="48"/>
                      <a:pt x="74" y="48"/>
                    </a:cubicBezTo>
                    <a:cubicBezTo>
                      <a:pt x="77" y="49"/>
                      <a:pt x="77" y="49"/>
                      <a:pt x="77" y="49"/>
                    </a:cubicBezTo>
                    <a:cubicBezTo>
                      <a:pt x="78" y="46"/>
                      <a:pt x="78" y="46"/>
                      <a:pt x="78" y="46"/>
                    </a:cubicBezTo>
                    <a:cubicBezTo>
                      <a:pt x="76" y="43"/>
                      <a:pt x="76" y="43"/>
                      <a:pt x="76" y="43"/>
                    </a:cubicBezTo>
                    <a:cubicBezTo>
                      <a:pt x="76" y="41"/>
                      <a:pt x="76" y="41"/>
                      <a:pt x="76" y="41"/>
                    </a:cubicBezTo>
                    <a:cubicBezTo>
                      <a:pt x="73" y="38"/>
                      <a:pt x="73" y="38"/>
                      <a:pt x="73" y="38"/>
                    </a:cubicBezTo>
                    <a:cubicBezTo>
                      <a:pt x="70" y="31"/>
                      <a:pt x="70" y="31"/>
                      <a:pt x="70" y="31"/>
                    </a:cubicBezTo>
                    <a:cubicBezTo>
                      <a:pt x="72" y="24"/>
                      <a:pt x="72" y="24"/>
                      <a:pt x="72" y="24"/>
                    </a:cubicBezTo>
                    <a:cubicBezTo>
                      <a:pt x="71" y="21"/>
                      <a:pt x="71" y="21"/>
                      <a:pt x="71" y="21"/>
                    </a:cubicBezTo>
                    <a:cubicBezTo>
                      <a:pt x="70" y="19"/>
                      <a:pt x="70" y="19"/>
                      <a:pt x="70" y="19"/>
                    </a:cubicBezTo>
                    <a:cubicBezTo>
                      <a:pt x="70" y="19"/>
                      <a:pt x="72" y="17"/>
                      <a:pt x="72" y="16"/>
                    </a:cubicBezTo>
                    <a:cubicBezTo>
                      <a:pt x="72" y="15"/>
                      <a:pt x="72" y="13"/>
                      <a:pt x="72" y="13"/>
                    </a:cubicBezTo>
                    <a:cubicBezTo>
                      <a:pt x="75" y="12"/>
                      <a:pt x="75" y="12"/>
                      <a:pt x="75" y="12"/>
                    </a:cubicBezTo>
                    <a:cubicBezTo>
                      <a:pt x="77" y="9"/>
                      <a:pt x="77" y="9"/>
                      <a:pt x="77" y="9"/>
                    </a:cubicBezTo>
                    <a:cubicBezTo>
                      <a:pt x="78" y="11"/>
                      <a:pt x="78" y="11"/>
                      <a:pt x="78" y="11"/>
                    </a:cubicBezTo>
                    <a:cubicBezTo>
                      <a:pt x="76" y="13"/>
                      <a:pt x="76" y="13"/>
                      <a:pt x="76" y="13"/>
                    </a:cubicBezTo>
                    <a:cubicBezTo>
                      <a:pt x="74" y="18"/>
                      <a:pt x="74" y="18"/>
                      <a:pt x="74" y="18"/>
                    </a:cubicBezTo>
                    <a:cubicBezTo>
                      <a:pt x="75" y="19"/>
                      <a:pt x="75" y="19"/>
                      <a:pt x="75" y="19"/>
                    </a:cubicBezTo>
                    <a:cubicBezTo>
                      <a:pt x="77" y="20"/>
                      <a:pt x="77" y="20"/>
                      <a:pt x="77" y="20"/>
                    </a:cubicBezTo>
                    <a:cubicBezTo>
                      <a:pt x="78" y="27"/>
                      <a:pt x="78" y="27"/>
                      <a:pt x="78" y="27"/>
                    </a:cubicBezTo>
                    <a:cubicBezTo>
                      <a:pt x="75" y="28"/>
                      <a:pt x="75" y="28"/>
                      <a:pt x="75" y="28"/>
                    </a:cubicBezTo>
                    <a:cubicBezTo>
                      <a:pt x="75" y="33"/>
                      <a:pt x="75" y="33"/>
                      <a:pt x="75" y="33"/>
                    </a:cubicBezTo>
                    <a:cubicBezTo>
                      <a:pt x="76" y="33"/>
                      <a:pt x="76" y="33"/>
                      <a:pt x="76" y="33"/>
                    </a:cubicBezTo>
                    <a:cubicBezTo>
                      <a:pt x="78" y="30"/>
                      <a:pt x="78" y="30"/>
                      <a:pt x="78" y="30"/>
                    </a:cubicBezTo>
                    <a:cubicBezTo>
                      <a:pt x="80" y="33"/>
                      <a:pt x="80" y="33"/>
                      <a:pt x="80" y="33"/>
                    </a:cubicBezTo>
                    <a:cubicBezTo>
                      <a:pt x="78" y="34"/>
                      <a:pt x="78" y="34"/>
                      <a:pt x="78" y="34"/>
                    </a:cubicBezTo>
                    <a:cubicBezTo>
                      <a:pt x="77" y="39"/>
                      <a:pt x="77" y="39"/>
                      <a:pt x="77" y="39"/>
                    </a:cubicBezTo>
                    <a:cubicBezTo>
                      <a:pt x="81" y="43"/>
                      <a:pt x="81" y="43"/>
                      <a:pt x="81" y="43"/>
                    </a:cubicBezTo>
                    <a:cubicBezTo>
                      <a:pt x="86" y="44"/>
                      <a:pt x="86" y="44"/>
                      <a:pt x="86" y="44"/>
                    </a:cubicBezTo>
                    <a:cubicBezTo>
                      <a:pt x="88" y="43"/>
                      <a:pt x="88" y="43"/>
                      <a:pt x="88" y="43"/>
                    </a:cubicBezTo>
                    <a:cubicBezTo>
                      <a:pt x="92" y="49"/>
                      <a:pt x="92" y="49"/>
                      <a:pt x="92" y="49"/>
                    </a:cubicBezTo>
                    <a:cubicBezTo>
                      <a:pt x="94" y="49"/>
                      <a:pt x="94" y="49"/>
                      <a:pt x="94" y="49"/>
                    </a:cubicBezTo>
                    <a:cubicBezTo>
                      <a:pt x="103" y="46"/>
                      <a:pt x="103" y="46"/>
                      <a:pt x="103" y="46"/>
                    </a:cubicBezTo>
                    <a:cubicBezTo>
                      <a:pt x="106" y="40"/>
                      <a:pt x="106" y="40"/>
                      <a:pt x="106" y="40"/>
                    </a:cubicBezTo>
                    <a:lnTo>
                      <a:pt x="106" y="34"/>
                    </a:lnTo>
                    <a:close/>
                    <a:moveTo>
                      <a:pt x="84" y="46"/>
                    </a:moveTo>
                    <a:cubicBezTo>
                      <a:pt x="85" y="49"/>
                      <a:pt x="85" y="49"/>
                      <a:pt x="85" y="49"/>
                    </a:cubicBezTo>
                    <a:cubicBezTo>
                      <a:pt x="85" y="51"/>
                      <a:pt x="85" y="51"/>
                      <a:pt x="85" y="51"/>
                    </a:cubicBezTo>
                    <a:cubicBezTo>
                      <a:pt x="87" y="54"/>
                      <a:pt x="87" y="54"/>
                      <a:pt x="87" y="54"/>
                    </a:cubicBezTo>
                    <a:cubicBezTo>
                      <a:pt x="87" y="54"/>
                      <a:pt x="88" y="53"/>
                      <a:pt x="88" y="52"/>
                    </a:cubicBezTo>
                    <a:cubicBezTo>
                      <a:pt x="88" y="52"/>
                      <a:pt x="87" y="48"/>
                      <a:pt x="87" y="48"/>
                    </a:cubicBezTo>
                    <a:cubicBezTo>
                      <a:pt x="86" y="45"/>
                      <a:pt x="86" y="45"/>
                      <a:pt x="86" y="45"/>
                    </a:cubicBezTo>
                    <a:lnTo>
                      <a:pt x="84" y="4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8" name="Freeform 24">
                <a:extLst/>
              </p:cNvPr>
              <p:cNvSpPr>
                <a:spLocks/>
              </p:cNvSpPr>
              <p:nvPr/>
            </p:nvSpPr>
            <p:spPr bwMode="auto">
              <a:xfrm>
                <a:off x="8778875" y="2557463"/>
                <a:ext cx="911225" cy="911225"/>
              </a:xfrm>
              <a:custGeom>
                <a:avLst/>
                <a:gdLst>
                  <a:gd name="T0" fmla="*/ 64 w 104"/>
                  <a:gd name="T1" fmla="*/ 30 h 104"/>
                  <a:gd name="T2" fmla="*/ 70 w 104"/>
                  <a:gd name="T3" fmla="*/ 35 h 104"/>
                  <a:gd name="T4" fmla="*/ 77 w 104"/>
                  <a:gd name="T5" fmla="*/ 30 h 104"/>
                  <a:gd name="T6" fmla="*/ 81 w 104"/>
                  <a:gd name="T7" fmla="*/ 25 h 104"/>
                  <a:gd name="T8" fmla="*/ 87 w 104"/>
                  <a:gd name="T9" fmla="*/ 25 h 104"/>
                  <a:gd name="T10" fmla="*/ 93 w 104"/>
                  <a:gd name="T11" fmla="*/ 20 h 104"/>
                  <a:gd name="T12" fmla="*/ 97 w 104"/>
                  <a:gd name="T13" fmla="*/ 21 h 104"/>
                  <a:gd name="T14" fmla="*/ 102 w 104"/>
                  <a:gd name="T15" fmla="*/ 25 h 104"/>
                  <a:gd name="T16" fmla="*/ 104 w 104"/>
                  <a:gd name="T17" fmla="*/ 33 h 104"/>
                  <a:gd name="T18" fmla="*/ 91 w 104"/>
                  <a:gd name="T19" fmla="*/ 27 h 104"/>
                  <a:gd name="T20" fmla="*/ 90 w 104"/>
                  <a:gd name="T21" fmla="*/ 36 h 104"/>
                  <a:gd name="T22" fmla="*/ 87 w 104"/>
                  <a:gd name="T23" fmla="*/ 42 h 104"/>
                  <a:gd name="T24" fmla="*/ 82 w 104"/>
                  <a:gd name="T25" fmla="*/ 49 h 104"/>
                  <a:gd name="T26" fmla="*/ 77 w 104"/>
                  <a:gd name="T27" fmla="*/ 53 h 104"/>
                  <a:gd name="T28" fmla="*/ 72 w 104"/>
                  <a:gd name="T29" fmla="*/ 60 h 104"/>
                  <a:gd name="T30" fmla="*/ 68 w 104"/>
                  <a:gd name="T31" fmla="*/ 56 h 104"/>
                  <a:gd name="T32" fmla="*/ 65 w 104"/>
                  <a:gd name="T33" fmla="*/ 62 h 104"/>
                  <a:gd name="T34" fmla="*/ 56 w 104"/>
                  <a:gd name="T35" fmla="*/ 85 h 104"/>
                  <a:gd name="T36" fmla="*/ 57 w 104"/>
                  <a:gd name="T37" fmla="*/ 90 h 104"/>
                  <a:gd name="T38" fmla="*/ 52 w 104"/>
                  <a:gd name="T39" fmla="*/ 92 h 104"/>
                  <a:gd name="T40" fmla="*/ 44 w 104"/>
                  <a:gd name="T41" fmla="*/ 94 h 104"/>
                  <a:gd name="T42" fmla="*/ 36 w 104"/>
                  <a:gd name="T43" fmla="*/ 102 h 104"/>
                  <a:gd name="T44" fmla="*/ 30 w 104"/>
                  <a:gd name="T45" fmla="*/ 103 h 104"/>
                  <a:gd name="T46" fmla="*/ 22 w 104"/>
                  <a:gd name="T47" fmla="*/ 103 h 104"/>
                  <a:gd name="T48" fmla="*/ 18 w 104"/>
                  <a:gd name="T49" fmla="*/ 97 h 104"/>
                  <a:gd name="T50" fmla="*/ 10 w 104"/>
                  <a:gd name="T51" fmla="*/ 91 h 104"/>
                  <a:gd name="T52" fmla="*/ 5 w 104"/>
                  <a:gd name="T53" fmla="*/ 83 h 104"/>
                  <a:gd name="T54" fmla="*/ 1 w 104"/>
                  <a:gd name="T55" fmla="*/ 79 h 104"/>
                  <a:gd name="T56" fmla="*/ 3 w 104"/>
                  <a:gd name="T57" fmla="*/ 72 h 104"/>
                  <a:gd name="T58" fmla="*/ 6 w 104"/>
                  <a:gd name="T59" fmla="*/ 67 h 104"/>
                  <a:gd name="T60" fmla="*/ 8 w 104"/>
                  <a:gd name="T61" fmla="*/ 58 h 104"/>
                  <a:gd name="T62" fmla="*/ 11 w 104"/>
                  <a:gd name="T63" fmla="*/ 52 h 104"/>
                  <a:gd name="T64" fmla="*/ 14 w 104"/>
                  <a:gd name="T65" fmla="*/ 56 h 104"/>
                  <a:gd name="T66" fmla="*/ 17 w 104"/>
                  <a:gd name="T67" fmla="*/ 53 h 104"/>
                  <a:gd name="T68" fmla="*/ 15 w 104"/>
                  <a:gd name="T69" fmla="*/ 47 h 104"/>
                  <a:gd name="T70" fmla="*/ 20 w 104"/>
                  <a:gd name="T71" fmla="*/ 41 h 104"/>
                  <a:gd name="T72" fmla="*/ 24 w 104"/>
                  <a:gd name="T73" fmla="*/ 40 h 104"/>
                  <a:gd name="T74" fmla="*/ 31 w 104"/>
                  <a:gd name="T75" fmla="*/ 33 h 104"/>
                  <a:gd name="T76" fmla="*/ 35 w 104"/>
                  <a:gd name="T77" fmla="*/ 20 h 104"/>
                  <a:gd name="T78" fmla="*/ 35 w 104"/>
                  <a:gd name="T79" fmla="*/ 7 h 104"/>
                  <a:gd name="T80" fmla="*/ 35 w 104"/>
                  <a:gd name="T81" fmla="*/ 1 h 104"/>
                  <a:gd name="T82" fmla="*/ 42 w 104"/>
                  <a:gd name="T83" fmla="*/ 26 h 104"/>
                  <a:gd name="T84" fmla="*/ 63 w 104"/>
                  <a:gd name="T85" fmla="*/ 2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104">
                    <a:moveTo>
                      <a:pt x="63" y="23"/>
                    </a:moveTo>
                    <a:cubicBezTo>
                      <a:pt x="64" y="30"/>
                      <a:pt x="64" y="30"/>
                      <a:pt x="64" y="30"/>
                    </a:cubicBezTo>
                    <a:cubicBezTo>
                      <a:pt x="66" y="39"/>
                      <a:pt x="66" y="39"/>
                      <a:pt x="66" y="39"/>
                    </a:cubicBezTo>
                    <a:cubicBezTo>
                      <a:pt x="70" y="35"/>
                      <a:pt x="70" y="35"/>
                      <a:pt x="70" y="35"/>
                    </a:cubicBezTo>
                    <a:cubicBezTo>
                      <a:pt x="73" y="31"/>
                      <a:pt x="73" y="31"/>
                      <a:pt x="73" y="31"/>
                    </a:cubicBezTo>
                    <a:cubicBezTo>
                      <a:pt x="77" y="30"/>
                      <a:pt x="77" y="30"/>
                      <a:pt x="77" y="30"/>
                    </a:cubicBezTo>
                    <a:cubicBezTo>
                      <a:pt x="79" y="28"/>
                      <a:pt x="79" y="28"/>
                      <a:pt x="79" y="28"/>
                    </a:cubicBezTo>
                    <a:cubicBezTo>
                      <a:pt x="81" y="25"/>
                      <a:pt x="81" y="25"/>
                      <a:pt x="81" y="25"/>
                    </a:cubicBezTo>
                    <a:cubicBezTo>
                      <a:pt x="83" y="26"/>
                      <a:pt x="83" y="26"/>
                      <a:pt x="83" y="26"/>
                    </a:cubicBezTo>
                    <a:cubicBezTo>
                      <a:pt x="87" y="25"/>
                      <a:pt x="87" y="25"/>
                      <a:pt x="87" y="25"/>
                    </a:cubicBezTo>
                    <a:cubicBezTo>
                      <a:pt x="90" y="22"/>
                      <a:pt x="90" y="22"/>
                      <a:pt x="90" y="22"/>
                    </a:cubicBezTo>
                    <a:cubicBezTo>
                      <a:pt x="93" y="20"/>
                      <a:pt x="93" y="20"/>
                      <a:pt x="93" y="20"/>
                    </a:cubicBezTo>
                    <a:cubicBezTo>
                      <a:pt x="95" y="20"/>
                      <a:pt x="95" y="20"/>
                      <a:pt x="95" y="20"/>
                    </a:cubicBezTo>
                    <a:cubicBezTo>
                      <a:pt x="97" y="21"/>
                      <a:pt x="97" y="21"/>
                      <a:pt x="97" y="21"/>
                    </a:cubicBezTo>
                    <a:cubicBezTo>
                      <a:pt x="100" y="23"/>
                      <a:pt x="100" y="23"/>
                      <a:pt x="100" y="23"/>
                    </a:cubicBezTo>
                    <a:cubicBezTo>
                      <a:pt x="102" y="25"/>
                      <a:pt x="102" y="25"/>
                      <a:pt x="102" y="25"/>
                    </a:cubicBezTo>
                    <a:cubicBezTo>
                      <a:pt x="104" y="27"/>
                      <a:pt x="104" y="27"/>
                      <a:pt x="104" y="27"/>
                    </a:cubicBezTo>
                    <a:cubicBezTo>
                      <a:pt x="104" y="33"/>
                      <a:pt x="104" y="33"/>
                      <a:pt x="104" y="33"/>
                    </a:cubicBezTo>
                    <a:cubicBezTo>
                      <a:pt x="97" y="29"/>
                      <a:pt x="97" y="29"/>
                      <a:pt x="97" y="29"/>
                    </a:cubicBezTo>
                    <a:cubicBezTo>
                      <a:pt x="91" y="27"/>
                      <a:pt x="91" y="27"/>
                      <a:pt x="91" y="27"/>
                    </a:cubicBezTo>
                    <a:cubicBezTo>
                      <a:pt x="90" y="34"/>
                      <a:pt x="90" y="34"/>
                      <a:pt x="90" y="34"/>
                    </a:cubicBezTo>
                    <a:cubicBezTo>
                      <a:pt x="90" y="36"/>
                      <a:pt x="90" y="36"/>
                      <a:pt x="90" y="36"/>
                    </a:cubicBezTo>
                    <a:cubicBezTo>
                      <a:pt x="88" y="40"/>
                      <a:pt x="88" y="40"/>
                      <a:pt x="88" y="40"/>
                    </a:cubicBezTo>
                    <a:cubicBezTo>
                      <a:pt x="87" y="42"/>
                      <a:pt x="87" y="42"/>
                      <a:pt x="87" y="42"/>
                    </a:cubicBezTo>
                    <a:cubicBezTo>
                      <a:pt x="83" y="45"/>
                      <a:pt x="83" y="45"/>
                      <a:pt x="83" y="45"/>
                    </a:cubicBezTo>
                    <a:cubicBezTo>
                      <a:pt x="82" y="49"/>
                      <a:pt x="82" y="49"/>
                      <a:pt x="82" y="49"/>
                    </a:cubicBezTo>
                    <a:cubicBezTo>
                      <a:pt x="77" y="49"/>
                      <a:pt x="77" y="49"/>
                      <a:pt x="77" y="49"/>
                    </a:cubicBezTo>
                    <a:cubicBezTo>
                      <a:pt x="77" y="53"/>
                      <a:pt x="77" y="53"/>
                      <a:pt x="77" y="53"/>
                    </a:cubicBezTo>
                    <a:cubicBezTo>
                      <a:pt x="75" y="60"/>
                      <a:pt x="75" y="60"/>
                      <a:pt x="75" y="60"/>
                    </a:cubicBezTo>
                    <a:cubicBezTo>
                      <a:pt x="72" y="60"/>
                      <a:pt x="72" y="60"/>
                      <a:pt x="72" y="60"/>
                    </a:cubicBezTo>
                    <a:cubicBezTo>
                      <a:pt x="70" y="59"/>
                      <a:pt x="70" y="59"/>
                      <a:pt x="70" y="59"/>
                    </a:cubicBezTo>
                    <a:cubicBezTo>
                      <a:pt x="68" y="56"/>
                      <a:pt x="68" y="56"/>
                      <a:pt x="68" y="56"/>
                    </a:cubicBezTo>
                    <a:cubicBezTo>
                      <a:pt x="66" y="56"/>
                      <a:pt x="66" y="56"/>
                      <a:pt x="66" y="56"/>
                    </a:cubicBezTo>
                    <a:cubicBezTo>
                      <a:pt x="65" y="62"/>
                      <a:pt x="65" y="62"/>
                      <a:pt x="65" y="62"/>
                    </a:cubicBezTo>
                    <a:cubicBezTo>
                      <a:pt x="63" y="71"/>
                      <a:pt x="63" y="71"/>
                      <a:pt x="63" y="71"/>
                    </a:cubicBezTo>
                    <a:cubicBezTo>
                      <a:pt x="56" y="85"/>
                      <a:pt x="56" y="85"/>
                      <a:pt x="56" y="85"/>
                    </a:cubicBezTo>
                    <a:cubicBezTo>
                      <a:pt x="57" y="87"/>
                      <a:pt x="57" y="87"/>
                      <a:pt x="57" y="87"/>
                    </a:cubicBezTo>
                    <a:cubicBezTo>
                      <a:pt x="57" y="90"/>
                      <a:pt x="57" y="90"/>
                      <a:pt x="57" y="90"/>
                    </a:cubicBezTo>
                    <a:cubicBezTo>
                      <a:pt x="54" y="93"/>
                      <a:pt x="54" y="93"/>
                      <a:pt x="54" y="93"/>
                    </a:cubicBezTo>
                    <a:cubicBezTo>
                      <a:pt x="52" y="92"/>
                      <a:pt x="52" y="92"/>
                      <a:pt x="52" y="92"/>
                    </a:cubicBezTo>
                    <a:cubicBezTo>
                      <a:pt x="48" y="96"/>
                      <a:pt x="48" y="96"/>
                      <a:pt x="48" y="96"/>
                    </a:cubicBezTo>
                    <a:cubicBezTo>
                      <a:pt x="44" y="94"/>
                      <a:pt x="44" y="94"/>
                      <a:pt x="44" y="94"/>
                    </a:cubicBezTo>
                    <a:cubicBezTo>
                      <a:pt x="42" y="101"/>
                      <a:pt x="42" y="101"/>
                      <a:pt x="42" y="101"/>
                    </a:cubicBezTo>
                    <a:cubicBezTo>
                      <a:pt x="42" y="101"/>
                      <a:pt x="37" y="102"/>
                      <a:pt x="36" y="102"/>
                    </a:cubicBezTo>
                    <a:cubicBezTo>
                      <a:pt x="35" y="102"/>
                      <a:pt x="33" y="100"/>
                      <a:pt x="33" y="100"/>
                    </a:cubicBezTo>
                    <a:cubicBezTo>
                      <a:pt x="30" y="103"/>
                      <a:pt x="30" y="103"/>
                      <a:pt x="30" y="103"/>
                    </a:cubicBezTo>
                    <a:cubicBezTo>
                      <a:pt x="26" y="104"/>
                      <a:pt x="26" y="104"/>
                      <a:pt x="26" y="104"/>
                    </a:cubicBezTo>
                    <a:cubicBezTo>
                      <a:pt x="22" y="103"/>
                      <a:pt x="22" y="103"/>
                      <a:pt x="22" y="103"/>
                    </a:cubicBezTo>
                    <a:cubicBezTo>
                      <a:pt x="20" y="101"/>
                      <a:pt x="20" y="101"/>
                      <a:pt x="20" y="101"/>
                    </a:cubicBezTo>
                    <a:cubicBezTo>
                      <a:pt x="18" y="97"/>
                      <a:pt x="18" y="97"/>
                      <a:pt x="18" y="97"/>
                    </a:cubicBezTo>
                    <a:cubicBezTo>
                      <a:pt x="13" y="95"/>
                      <a:pt x="13" y="95"/>
                      <a:pt x="13" y="95"/>
                    </a:cubicBezTo>
                    <a:cubicBezTo>
                      <a:pt x="10" y="91"/>
                      <a:pt x="10" y="91"/>
                      <a:pt x="10" y="91"/>
                    </a:cubicBezTo>
                    <a:cubicBezTo>
                      <a:pt x="6" y="86"/>
                      <a:pt x="6" y="86"/>
                      <a:pt x="6" y="86"/>
                    </a:cubicBezTo>
                    <a:cubicBezTo>
                      <a:pt x="5" y="83"/>
                      <a:pt x="5" y="83"/>
                      <a:pt x="5" y="83"/>
                    </a:cubicBezTo>
                    <a:cubicBezTo>
                      <a:pt x="2" y="81"/>
                      <a:pt x="2" y="81"/>
                      <a:pt x="2" y="81"/>
                    </a:cubicBezTo>
                    <a:cubicBezTo>
                      <a:pt x="1" y="79"/>
                      <a:pt x="1" y="79"/>
                      <a:pt x="1" y="79"/>
                    </a:cubicBezTo>
                    <a:cubicBezTo>
                      <a:pt x="0" y="72"/>
                      <a:pt x="0" y="72"/>
                      <a:pt x="0" y="72"/>
                    </a:cubicBezTo>
                    <a:cubicBezTo>
                      <a:pt x="3" y="72"/>
                      <a:pt x="3" y="72"/>
                      <a:pt x="3" y="72"/>
                    </a:cubicBezTo>
                    <a:cubicBezTo>
                      <a:pt x="6" y="71"/>
                      <a:pt x="6" y="71"/>
                      <a:pt x="6" y="71"/>
                    </a:cubicBezTo>
                    <a:cubicBezTo>
                      <a:pt x="6" y="67"/>
                      <a:pt x="6" y="67"/>
                      <a:pt x="6" y="67"/>
                    </a:cubicBezTo>
                    <a:cubicBezTo>
                      <a:pt x="8" y="65"/>
                      <a:pt x="8" y="65"/>
                      <a:pt x="8" y="65"/>
                    </a:cubicBezTo>
                    <a:cubicBezTo>
                      <a:pt x="8" y="58"/>
                      <a:pt x="8" y="58"/>
                      <a:pt x="8" y="58"/>
                    </a:cubicBezTo>
                    <a:cubicBezTo>
                      <a:pt x="10" y="53"/>
                      <a:pt x="10" y="53"/>
                      <a:pt x="10" y="53"/>
                    </a:cubicBezTo>
                    <a:cubicBezTo>
                      <a:pt x="11" y="52"/>
                      <a:pt x="11" y="52"/>
                      <a:pt x="11" y="52"/>
                    </a:cubicBezTo>
                    <a:cubicBezTo>
                      <a:pt x="13" y="54"/>
                      <a:pt x="13" y="54"/>
                      <a:pt x="13" y="54"/>
                    </a:cubicBezTo>
                    <a:cubicBezTo>
                      <a:pt x="14" y="56"/>
                      <a:pt x="14" y="56"/>
                      <a:pt x="14" y="56"/>
                    </a:cubicBezTo>
                    <a:cubicBezTo>
                      <a:pt x="16" y="55"/>
                      <a:pt x="16" y="55"/>
                      <a:pt x="16" y="55"/>
                    </a:cubicBezTo>
                    <a:cubicBezTo>
                      <a:pt x="17" y="53"/>
                      <a:pt x="17" y="53"/>
                      <a:pt x="17" y="53"/>
                    </a:cubicBezTo>
                    <a:cubicBezTo>
                      <a:pt x="15" y="50"/>
                      <a:pt x="15" y="50"/>
                      <a:pt x="15" y="50"/>
                    </a:cubicBezTo>
                    <a:cubicBezTo>
                      <a:pt x="15" y="47"/>
                      <a:pt x="15" y="47"/>
                      <a:pt x="15" y="47"/>
                    </a:cubicBezTo>
                    <a:cubicBezTo>
                      <a:pt x="17" y="45"/>
                      <a:pt x="17" y="45"/>
                      <a:pt x="17" y="45"/>
                    </a:cubicBezTo>
                    <a:cubicBezTo>
                      <a:pt x="20" y="41"/>
                      <a:pt x="20" y="41"/>
                      <a:pt x="20" y="41"/>
                    </a:cubicBezTo>
                    <a:cubicBezTo>
                      <a:pt x="21" y="39"/>
                      <a:pt x="21" y="39"/>
                      <a:pt x="21" y="39"/>
                    </a:cubicBezTo>
                    <a:cubicBezTo>
                      <a:pt x="24" y="40"/>
                      <a:pt x="24" y="40"/>
                      <a:pt x="24" y="40"/>
                    </a:cubicBezTo>
                    <a:cubicBezTo>
                      <a:pt x="27" y="38"/>
                      <a:pt x="27" y="38"/>
                      <a:pt x="27" y="38"/>
                    </a:cubicBezTo>
                    <a:cubicBezTo>
                      <a:pt x="31" y="33"/>
                      <a:pt x="31" y="33"/>
                      <a:pt x="31" y="33"/>
                    </a:cubicBezTo>
                    <a:cubicBezTo>
                      <a:pt x="34" y="28"/>
                      <a:pt x="34" y="28"/>
                      <a:pt x="34" y="28"/>
                    </a:cubicBezTo>
                    <a:cubicBezTo>
                      <a:pt x="35" y="20"/>
                      <a:pt x="35" y="20"/>
                      <a:pt x="35" y="20"/>
                    </a:cubicBezTo>
                    <a:cubicBezTo>
                      <a:pt x="35" y="14"/>
                      <a:pt x="35" y="14"/>
                      <a:pt x="35" y="14"/>
                    </a:cubicBezTo>
                    <a:cubicBezTo>
                      <a:pt x="35" y="7"/>
                      <a:pt x="35" y="7"/>
                      <a:pt x="35" y="7"/>
                    </a:cubicBezTo>
                    <a:cubicBezTo>
                      <a:pt x="34" y="3"/>
                      <a:pt x="34" y="3"/>
                      <a:pt x="34" y="3"/>
                    </a:cubicBezTo>
                    <a:cubicBezTo>
                      <a:pt x="35" y="1"/>
                      <a:pt x="35" y="1"/>
                      <a:pt x="35" y="1"/>
                    </a:cubicBezTo>
                    <a:cubicBezTo>
                      <a:pt x="37" y="0"/>
                      <a:pt x="37" y="0"/>
                      <a:pt x="37" y="0"/>
                    </a:cubicBezTo>
                    <a:cubicBezTo>
                      <a:pt x="42" y="26"/>
                      <a:pt x="42" y="26"/>
                      <a:pt x="42" y="26"/>
                    </a:cubicBezTo>
                    <a:cubicBezTo>
                      <a:pt x="48" y="25"/>
                      <a:pt x="48" y="25"/>
                      <a:pt x="48" y="25"/>
                    </a:cubicBezTo>
                    <a:lnTo>
                      <a:pt x="63" y="23"/>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9" name="Freeform 25">
                <a:extLst/>
              </p:cNvPr>
              <p:cNvSpPr>
                <a:spLocks/>
              </p:cNvSpPr>
              <p:nvPr/>
            </p:nvSpPr>
            <p:spPr bwMode="auto">
              <a:xfrm>
                <a:off x="7431088" y="3057525"/>
                <a:ext cx="1487488" cy="752475"/>
              </a:xfrm>
              <a:custGeom>
                <a:avLst/>
                <a:gdLst>
                  <a:gd name="T0" fmla="*/ 921 w 937"/>
                  <a:gd name="T1" fmla="*/ 242 h 474"/>
                  <a:gd name="T2" fmla="*/ 860 w 937"/>
                  <a:gd name="T3" fmla="*/ 314 h 474"/>
                  <a:gd name="T4" fmla="*/ 849 w 937"/>
                  <a:gd name="T5" fmla="*/ 342 h 474"/>
                  <a:gd name="T6" fmla="*/ 778 w 937"/>
                  <a:gd name="T7" fmla="*/ 380 h 474"/>
                  <a:gd name="T8" fmla="*/ 369 w 937"/>
                  <a:gd name="T9" fmla="*/ 419 h 474"/>
                  <a:gd name="T10" fmla="*/ 221 w 937"/>
                  <a:gd name="T11" fmla="*/ 435 h 474"/>
                  <a:gd name="T12" fmla="*/ 187 w 937"/>
                  <a:gd name="T13" fmla="*/ 469 h 474"/>
                  <a:gd name="T14" fmla="*/ 77 w 937"/>
                  <a:gd name="T15" fmla="*/ 474 h 474"/>
                  <a:gd name="T16" fmla="*/ 17 w 937"/>
                  <a:gd name="T17" fmla="*/ 474 h 474"/>
                  <a:gd name="T18" fmla="*/ 44 w 937"/>
                  <a:gd name="T19" fmla="*/ 452 h 474"/>
                  <a:gd name="T20" fmla="*/ 55 w 937"/>
                  <a:gd name="T21" fmla="*/ 413 h 474"/>
                  <a:gd name="T22" fmla="*/ 50 w 937"/>
                  <a:gd name="T23" fmla="*/ 380 h 474"/>
                  <a:gd name="T24" fmla="*/ 83 w 937"/>
                  <a:gd name="T25" fmla="*/ 364 h 474"/>
                  <a:gd name="T26" fmla="*/ 127 w 937"/>
                  <a:gd name="T27" fmla="*/ 386 h 474"/>
                  <a:gd name="T28" fmla="*/ 138 w 937"/>
                  <a:gd name="T29" fmla="*/ 364 h 474"/>
                  <a:gd name="T30" fmla="*/ 132 w 937"/>
                  <a:gd name="T31" fmla="*/ 331 h 474"/>
                  <a:gd name="T32" fmla="*/ 165 w 937"/>
                  <a:gd name="T33" fmla="*/ 314 h 474"/>
                  <a:gd name="T34" fmla="*/ 171 w 937"/>
                  <a:gd name="T35" fmla="*/ 298 h 474"/>
                  <a:gd name="T36" fmla="*/ 171 w 937"/>
                  <a:gd name="T37" fmla="*/ 275 h 474"/>
                  <a:gd name="T38" fmla="*/ 204 w 937"/>
                  <a:gd name="T39" fmla="*/ 237 h 474"/>
                  <a:gd name="T40" fmla="*/ 270 w 937"/>
                  <a:gd name="T41" fmla="*/ 231 h 474"/>
                  <a:gd name="T42" fmla="*/ 298 w 937"/>
                  <a:gd name="T43" fmla="*/ 248 h 474"/>
                  <a:gd name="T44" fmla="*/ 331 w 937"/>
                  <a:gd name="T45" fmla="*/ 215 h 474"/>
                  <a:gd name="T46" fmla="*/ 347 w 937"/>
                  <a:gd name="T47" fmla="*/ 237 h 474"/>
                  <a:gd name="T48" fmla="*/ 364 w 937"/>
                  <a:gd name="T49" fmla="*/ 204 h 474"/>
                  <a:gd name="T50" fmla="*/ 392 w 937"/>
                  <a:gd name="T51" fmla="*/ 187 h 474"/>
                  <a:gd name="T52" fmla="*/ 436 w 937"/>
                  <a:gd name="T53" fmla="*/ 198 h 474"/>
                  <a:gd name="T54" fmla="*/ 441 w 937"/>
                  <a:gd name="T55" fmla="*/ 171 h 474"/>
                  <a:gd name="T56" fmla="*/ 496 w 937"/>
                  <a:gd name="T57" fmla="*/ 115 h 474"/>
                  <a:gd name="T58" fmla="*/ 518 w 937"/>
                  <a:gd name="T59" fmla="*/ 77 h 474"/>
                  <a:gd name="T60" fmla="*/ 568 w 937"/>
                  <a:gd name="T61" fmla="*/ 49 h 474"/>
                  <a:gd name="T62" fmla="*/ 557 w 937"/>
                  <a:gd name="T63" fmla="*/ 27 h 474"/>
                  <a:gd name="T64" fmla="*/ 590 w 937"/>
                  <a:gd name="T65" fmla="*/ 5 h 474"/>
                  <a:gd name="T66" fmla="*/ 629 w 937"/>
                  <a:gd name="T67" fmla="*/ 16 h 474"/>
                  <a:gd name="T68" fmla="*/ 684 w 937"/>
                  <a:gd name="T69" fmla="*/ 49 h 474"/>
                  <a:gd name="T70" fmla="*/ 711 w 937"/>
                  <a:gd name="T71" fmla="*/ 60 h 474"/>
                  <a:gd name="T72" fmla="*/ 755 w 937"/>
                  <a:gd name="T73" fmla="*/ 55 h 474"/>
                  <a:gd name="T74" fmla="*/ 783 w 937"/>
                  <a:gd name="T75" fmla="*/ 49 h 474"/>
                  <a:gd name="T76" fmla="*/ 805 w 937"/>
                  <a:gd name="T77" fmla="*/ 38 h 474"/>
                  <a:gd name="T78" fmla="*/ 827 w 937"/>
                  <a:gd name="T79" fmla="*/ 66 h 474"/>
                  <a:gd name="T80" fmla="*/ 844 w 937"/>
                  <a:gd name="T81" fmla="*/ 121 h 474"/>
                  <a:gd name="T82" fmla="*/ 871 w 937"/>
                  <a:gd name="T83" fmla="*/ 143 h 474"/>
                  <a:gd name="T84" fmla="*/ 893 w 937"/>
                  <a:gd name="T85" fmla="*/ 187 h 474"/>
                  <a:gd name="T86" fmla="*/ 937 w 937"/>
                  <a:gd name="T87" fmla="*/ 22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7" h="474">
                    <a:moveTo>
                      <a:pt x="937" y="220"/>
                    </a:moveTo>
                    <a:lnTo>
                      <a:pt x="921" y="242"/>
                    </a:lnTo>
                    <a:lnTo>
                      <a:pt x="893" y="270"/>
                    </a:lnTo>
                    <a:lnTo>
                      <a:pt x="860" y="314"/>
                    </a:lnTo>
                    <a:lnTo>
                      <a:pt x="849" y="325"/>
                    </a:lnTo>
                    <a:lnTo>
                      <a:pt x="849" y="342"/>
                    </a:lnTo>
                    <a:lnTo>
                      <a:pt x="816" y="358"/>
                    </a:lnTo>
                    <a:lnTo>
                      <a:pt x="778" y="380"/>
                    </a:lnTo>
                    <a:lnTo>
                      <a:pt x="750" y="386"/>
                    </a:lnTo>
                    <a:lnTo>
                      <a:pt x="369" y="419"/>
                    </a:lnTo>
                    <a:lnTo>
                      <a:pt x="254" y="435"/>
                    </a:lnTo>
                    <a:lnTo>
                      <a:pt x="221" y="435"/>
                    </a:lnTo>
                    <a:lnTo>
                      <a:pt x="193" y="435"/>
                    </a:lnTo>
                    <a:lnTo>
                      <a:pt x="187" y="469"/>
                    </a:lnTo>
                    <a:lnTo>
                      <a:pt x="127" y="469"/>
                    </a:lnTo>
                    <a:lnTo>
                      <a:pt x="77" y="474"/>
                    </a:lnTo>
                    <a:lnTo>
                      <a:pt x="0" y="474"/>
                    </a:lnTo>
                    <a:lnTo>
                      <a:pt x="17" y="474"/>
                    </a:lnTo>
                    <a:lnTo>
                      <a:pt x="33" y="458"/>
                    </a:lnTo>
                    <a:lnTo>
                      <a:pt x="44" y="452"/>
                    </a:lnTo>
                    <a:lnTo>
                      <a:pt x="50" y="430"/>
                    </a:lnTo>
                    <a:lnTo>
                      <a:pt x="55" y="413"/>
                    </a:lnTo>
                    <a:lnTo>
                      <a:pt x="44" y="397"/>
                    </a:lnTo>
                    <a:lnTo>
                      <a:pt x="50" y="380"/>
                    </a:lnTo>
                    <a:lnTo>
                      <a:pt x="66" y="369"/>
                    </a:lnTo>
                    <a:lnTo>
                      <a:pt x="83" y="364"/>
                    </a:lnTo>
                    <a:lnTo>
                      <a:pt x="99" y="375"/>
                    </a:lnTo>
                    <a:lnTo>
                      <a:pt x="127" y="386"/>
                    </a:lnTo>
                    <a:lnTo>
                      <a:pt x="138" y="380"/>
                    </a:lnTo>
                    <a:lnTo>
                      <a:pt x="138" y="364"/>
                    </a:lnTo>
                    <a:lnTo>
                      <a:pt x="127" y="347"/>
                    </a:lnTo>
                    <a:lnTo>
                      <a:pt x="132" y="331"/>
                    </a:lnTo>
                    <a:lnTo>
                      <a:pt x="143" y="320"/>
                    </a:lnTo>
                    <a:lnTo>
                      <a:pt x="165" y="314"/>
                    </a:lnTo>
                    <a:lnTo>
                      <a:pt x="176" y="309"/>
                    </a:lnTo>
                    <a:lnTo>
                      <a:pt x="171" y="298"/>
                    </a:lnTo>
                    <a:lnTo>
                      <a:pt x="165" y="281"/>
                    </a:lnTo>
                    <a:lnTo>
                      <a:pt x="171" y="275"/>
                    </a:lnTo>
                    <a:lnTo>
                      <a:pt x="182" y="253"/>
                    </a:lnTo>
                    <a:lnTo>
                      <a:pt x="204" y="237"/>
                    </a:lnTo>
                    <a:lnTo>
                      <a:pt x="248" y="231"/>
                    </a:lnTo>
                    <a:lnTo>
                      <a:pt x="270" y="231"/>
                    </a:lnTo>
                    <a:lnTo>
                      <a:pt x="281" y="242"/>
                    </a:lnTo>
                    <a:lnTo>
                      <a:pt x="298" y="248"/>
                    </a:lnTo>
                    <a:lnTo>
                      <a:pt x="309" y="226"/>
                    </a:lnTo>
                    <a:lnTo>
                      <a:pt x="331" y="215"/>
                    </a:lnTo>
                    <a:lnTo>
                      <a:pt x="342" y="226"/>
                    </a:lnTo>
                    <a:lnTo>
                      <a:pt x="347" y="237"/>
                    </a:lnTo>
                    <a:lnTo>
                      <a:pt x="364" y="231"/>
                    </a:lnTo>
                    <a:lnTo>
                      <a:pt x="364" y="204"/>
                    </a:lnTo>
                    <a:lnTo>
                      <a:pt x="386" y="193"/>
                    </a:lnTo>
                    <a:lnTo>
                      <a:pt x="392" y="187"/>
                    </a:lnTo>
                    <a:lnTo>
                      <a:pt x="403" y="198"/>
                    </a:lnTo>
                    <a:lnTo>
                      <a:pt x="436" y="198"/>
                    </a:lnTo>
                    <a:lnTo>
                      <a:pt x="441" y="187"/>
                    </a:lnTo>
                    <a:lnTo>
                      <a:pt x="441" y="171"/>
                    </a:lnTo>
                    <a:lnTo>
                      <a:pt x="463" y="143"/>
                    </a:lnTo>
                    <a:lnTo>
                      <a:pt x="496" y="115"/>
                    </a:lnTo>
                    <a:lnTo>
                      <a:pt x="502" y="82"/>
                    </a:lnTo>
                    <a:lnTo>
                      <a:pt x="518" y="77"/>
                    </a:lnTo>
                    <a:lnTo>
                      <a:pt x="546" y="66"/>
                    </a:lnTo>
                    <a:lnTo>
                      <a:pt x="568" y="49"/>
                    </a:lnTo>
                    <a:lnTo>
                      <a:pt x="568" y="38"/>
                    </a:lnTo>
                    <a:lnTo>
                      <a:pt x="557" y="27"/>
                    </a:lnTo>
                    <a:lnTo>
                      <a:pt x="562" y="11"/>
                    </a:lnTo>
                    <a:lnTo>
                      <a:pt x="590" y="5"/>
                    </a:lnTo>
                    <a:lnTo>
                      <a:pt x="607" y="0"/>
                    </a:lnTo>
                    <a:lnTo>
                      <a:pt x="629" y="16"/>
                    </a:lnTo>
                    <a:lnTo>
                      <a:pt x="640" y="44"/>
                    </a:lnTo>
                    <a:lnTo>
                      <a:pt x="684" y="49"/>
                    </a:lnTo>
                    <a:lnTo>
                      <a:pt x="695" y="60"/>
                    </a:lnTo>
                    <a:lnTo>
                      <a:pt x="711" y="60"/>
                    </a:lnTo>
                    <a:lnTo>
                      <a:pt x="728" y="49"/>
                    </a:lnTo>
                    <a:lnTo>
                      <a:pt x="755" y="55"/>
                    </a:lnTo>
                    <a:lnTo>
                      <a:pt x="761" y="66"/>
                    </a:lnTo>
                    <a:lnTo>
                      <a:pt x="783" y="49"/>
                    </a:lnTo>
                    <a:lnTo>
                      <a:pt x="794" y="38"/>
                    </a:lnTo>
                    <a:lnTo>
                      <a:pt x="805" y="38"/>
                    </a:lnTo>
                    <a:lnTo>
                      <a:pt x="811" y="55"/>
                    </a:lnTo>
                    <a:lnTo>
                      <a:pt x="827" y="66"/>
                    </a:lnTo>
                    <a:lnTo>
                      <a:pt x="844" y="82"/>
                    </a:lnTo>
                    <a:lnTo>
                      <a:pt x="844" y="121"/>
                    </a:lnTo>
                    <a:lnTo>
                      <a:pt x="849" y="132"/>
                    </a:lnTo>
                    <a:lnTo>
                      <a:pt x="871" y="143"/>
                    </a:lnTo>
                    <a:lnTo>
                      <a:pt x="877" y="160"/>
                    </a:lnTo>
                    <a:lnTo>
                      <a:pt x="893" y="187"/>
                    </a:lnTo>
                    <a:lnTo>
                      <a:pt x="915" y="209"/>
                    </a:lnTo>
                    <a:lnTo>
                      <a:pt x="937" y="22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0" name="Freeform 26">
                <a:extLst/>
              </p:cNvPr>
              <p:cNvSpPr>
                <a:spLocks/>
              </p:cNvSpPr>
              <p:nvPr/>
            </p:nvSpPr>
            <p:spPr bwMode="auto">
              <a:xfrm>
                <a:off x="8245475" y="2206625"/>
                <a:ext cx="839788" cy="963613"/>
              </a:xfrm>
              <a:custGeom>
                <a:avLst/>
                <a:gdLst>
                  <a:gd name="T0" fmla="*/ 452 w 529"/>
                  <a:gd name="T1" fmla="*/ 34 h 607"/>
                  <a:gd name="T2" fmla="*/ 397 w 529"/>
                  <a:gd name="T3" fmla="*/ 78 h 607"/>
                  <a:gd name="T4" fmla="*/ 347 w 529"/>
                  <a:gd name="T5" fmla="*/ 111 h 607"/>
                  <a:gd name="T6" fmla="*/ 287 w 529"/>
                  <a:gd name="T7" fmla="*/ 133 h 607"/>
                  <a:gd name="T8" fmla="*/ 242 w 529"/>
                  <a:gd name="T9" fmla="*/ 111 h 607"/>
                  <a:gd name="T10" fmla="*/ 187 w 529"/>
                  <a:gd name="T11" fmla="*/ 105 h 607"/>
                  <a:gd name="T12" fmla="*/ 132 w 529"/>
                  <a:gd name="T13" fmla="*/ 100 h 607"/>
                  <a:gd name="T14" fmla="*/ 0 w 529"/>
                  <a:gd name="T15" fmla="*/ 122 h 607"/>
                  <a:gd name="T16" fmla="*/ 22 w 529"/>
                  <a:gd name="T17" fmla="*/ 331 h 607"/>
                  <a:gd name="T18" fmla="*/ 49 w 529"/>
                  <a:gd name="T19" fmla="*/ 541 h 607"/>
                  <a:gd name="T20" fmla="*/ 94 w 529"/>
                  <a:gd name="T21" fmla="*/ 530 h 607"/>
                  <a:gd name="T22" fmla="*/ 132 w 529"/>
                  <a:gd name="T23" fmla="*/ 574 h 607"/>
                  <a:gd name="T24" fmla="*/ 187 w 529"/>
                  <a:gd name="T25" fmla="*/ 591 h 607"/>
                  <a:gd name="T26" fmla="*/ 220 w 529"/>
                  <a:gd name="T27" fmla="*/ 580 h 607"/>
                  <a:gd name="T28" fmla="*/ 254 w 529"/>
                  <a:gd name="T29" fmla="*/ 591 h 607"/>
                  <a:gd name="T30" fmla="*/ 281 w 529"/>
                  <a:gd name="T31" fmla="*/ 569 h 607"/>
                  <a:gd name="T32" fmla="*/ 303 w 529"/>
                  <a:gd name="T33" fmla="*/ 585 h 607"/>
                  <a:gd name="T34" fmla="*/ 342 w 529"/>
                  <a:gd name="T35" fmla="*/ 607 h 607"/>
                  <a:gd name="T36" fmla="*/ 364 w 529"/>
                  <a:gd name="T37" fmla="*/ 596 h 607"/>
                  <a:gd name="T38" fmla="*/ 375 w 529"/>
                  <a:gd name="T39" fmla="*/ 580 h 607"/>
                  <a:gd name="T40" fmla="*/ 386 w 529"/>
                  <a:gd name="T41" fmla="*/ 514 h 607"/>
                  <a:gd name="T42" fmla="*/ 408 w 529"/>
                  <a:gd name="T43" fmla="*/ 508 h 607"/>
                  <a:gd name="T44" fmla="*/ 419 w 529"/>
                  <a:gd name="T45" fmla="*/ 514 h 607"/>
                  <a:gd name="T46" fmla="*/ 413 w 529"/>
                  <a:gd name="T47" fmla="*/ 491 h 607"/>
                  <a:gd name="T48" fmla="*/ 419 w 529"/>
                  <a:gd name="T49" fmla="*/ 464 h 607"/>
                  <a:gd name="T50" fmla="*/ 447 w 529"/>
                  <a:gd name="T51" fmla="*/ 431 h 607"/>
                  <a:gd name="T52" fmla="*/ 480 w 529"/>
                  <a:gd name="T53" fmla="*/ 420 h 607"/>
                  <a:gd name="T54" fmla="*/ 518 w 529"/>
                  <a:gd name="T55" fmla="*/ 370 h 607"/>
                  <a:gd name="T56" fmla="*/ 524 w 529"/>
                  <a:gd name="T57" fmla="*/ 293 h 607"/>
                  <a:gd name="T58" fmla="*/ 513 w 529"/>
                  <a:gd name="T59" fmla="*/ 232 h 607"/>
                  <a:gd name="T60" fmla="*/ 529 w 529"/>
                  <a:gd name="T61" fmla="*/ 216 h 607"/>
                  <a:gd name="T62" fmla="*/ 496 w 529"/>
                  <a:gd name="T63" fmla="*/ 0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9" h="607">
                    <a:moveTo>
                      <a:pt x="496" y="0"/>
                    </a:moveTo>
                    <a:lnTo>
                      <a:pt x="452" y="34"/>
                    </a:lnTo>
                    <a:lnTo>
                      <a:pt x="424" y="50"/>
                    </a:lnTo>
                    <a:lnTo>
                      <a:pt x="397" y="78"/>
                    </a:lnTo>
                    <a:lnTo>
                      <a:pt x="369" y="105"/>
                    </a:lnTo>
                    <a:lnTo>
                      <a:pt x="347" y="111"/>
                    </a:lnTo>
                    <a:lnTo>
                      <a:pt x="325" y="116"/>
                    </a:lnTo>
                    <a:lnTo>
                      <a:pt x="287" y="133"/>
                    </a:lnTo>
                    <a:lnTo>
                      <a:pt x="270" y="133"/>
                    </a:lnTo>
                    <a:lnTo>
                      <a:pt x="242" y="111"/>
                    </a:lnTo>
                    <a:lnTo>
                      <a:pt x="204" y="116"/>
                    </a:lnTo>
                    <a:lnTo>
                      <a:pt x="187" y="105"/>
                    </a:lnTo>
                    <a:lnTo>
                      <a:pt x="171" y="94"/>
                    </a:lnTo>
                    <a:lnTo>
                      <a:pt x="132" y="100"/>
                    </a:lnTo>
                    <a:lnTo>
                      <a:pt x="61" y="111"/>
                    </a:lnTo>
                    <a:lnTo>
                      <a:pt x="0" y="122"/>
                    </a:lnTo>
                    <a:lnTo>
                      <a:pt x="11" y="232"/>
                    </a:lnTo>
                    <a:lnTo>
                      <a:pt x="22" y="331"/>
                    </a:lnTo>
                    <a:lnTo>
                      <a:pt x="44" y="503"/>
                    </a:lnTo>
                    <a:lnTo>
                      <a:pt x="49" y="541"/>
                    </a:lnTo>
                    <a:lnTo>
                      <a:pt x="77" y="536"/>
                    </a:lnTo>
                    <a:lnTo>
                      <a:pt x="94" y="530"/>
                    </a:lnTo>
                    <a:lnTo>
                      <a:pt x="121" y="541"/>
                    </a:lnTo>
                    <a:lnTo>
                      <a:pt x="132" y="574"/>
                    </a:lnTo>
                    <a:lnTo>
                      <a:pt x="171" y="574"/>
                    </a:lnTo>
                    <a:lnTo>
                      <a:pt x="187" y="591"/>
                    </a:lnTo>
                    <a:lnTo>
                      <a:pt x="198" y="591"/>
                    </a:lnTo>
                    <a:lnTo>
                      <a:pt x="220" y="580"/>
                    </a:lnTo>
                    <a:lnTo>
                      <a:pt x="237" y="585"/>
                    </a:lnTo>
                    <a:lnTo>
                      <a:pt x="254" y="591"/>
                    </a:lnTo>
                    <a:lnTo>
                      <a:pt x="265" y="580"/>
                    </a:lnTo>
                    <a:lnTo>
                      <a:pt x="281" y="569"/>
                    </a:lnTo>
                    <a:lnTo>
                      <a:pt x="298" y="563"/>
                    </a:lnTo>
                    <a:lnTo>
                      <a:pt x="303" y="585"/>
                    </a:lnTo>
                    <a:lnTo>
                      <a:pt x="314" y="591"/>
                    </a:lnTo>
                    <a:lnTo>
                      <a:pt x="342" y="607"/>
                    </a:lnTo>
                    <a:lnTo>
                      <a:pt x="358" y="607"/>
                    </a:lnTo>
                    <a:lnTo>
                      <a:pt x="364" y="596"/>
                    </a:lnTo>
                    <a:lnTo>
                      <a:pt x="364" y="591"/>
                    </a:lnTo>
                    <a:lnTo>
                      <a:pt x="375" y="580"/>
                    </a:lnTo>
                    <a:lnTo>
                      <a:pt x="375" y="541"/>
                    </a:lnTo>
                    <a:lnTo>
                      <a:pt x="386" y="514"/>
                    </a:lnTo>
                    <a:lnTo>
                      <a:pt x="397" y="503"/>
                    </a:lnTo>
                    <a:lnTo>
                      <a:pt x="408" y="508"/>
                    </a:lnTo>
                    <a:lnTo>
                      <a:pt x="413" y="519"/>
                    </a:lnTo>
                    <a:lnTo>
                      <a:pt x="419" y="514"/>
                    </a:lnTo>
                    <a:lnTo>
                      <a:pt x="419" y="497"/>
                    </a:lnTo>
                    <a:lnTo>
                      <a:pt x="413" y="491"/>
                    </a:lnTo>
                    <a:lnTo>
                      <a:pt x="413" y="475"/>
                    </a:lnTo>
                    <a:lnTo>
                      <a:pt x="419" y="464"/>
                    </a:lnTo>
                    <a:lnTo>
                      <a:pt x="436" y="442"/>
                    </a:lnTo>
                    <a:lnTo>
                      <a:pt x="447" y="431"/>
                    </a:lnTo>
                    <a:lnTo>
                      <a:pt x="463" y="436"/>
                    </a:lnTo>
                    <a:lnTo>
                      <a:pt x="480" y="420"/>
                    </a:lnTo>
                    <a:lnTo>
                      <a:pt x="502" y="398"/>
                    </a:lnTo>
                    <a:lnTo>
                      <a:pt x="518" y="370"/>
                    </a:lnTo>
                    <a:lnTo>
                      <a:pt x="518" y="331"/>
                    </a:lnTo>
                    <a:lnTo>
                      <a:pt x="524" y="293"/>
                    </a:lnTo>
                    <a:lnTo>
                      <a:pt x="524" y="260"/>
                    </a:lnTo>
                    <a:lnTo>
                      <a:pt x="513" y="232"/>
                    </a:lnTo>
                    <a:lnTo>
                      <a:pt x="524" y="227"/>
                    </a:lnTo>
                    <a:lnTo>
                      <a:pt x="529" y="216"/>
                    </a:lnTo>
                    <a:lnTo>
                      <a:pt x="518" y="144"/>
                    </a:lnTo>
                    <a:lnTo>
                      <a:pt x="496" y="0"/>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1" name="Freeform 27">
                <a:extLst/>
              </p:cNvPr>
              <p:cNvSpPr>
                <a:spLocks noEditPoints="1"/>
              </p:cNvSpPr>
              <p:nvPr/>
            </p:nvSpPr>
            <p:spPr bwMode="auto">
              <a:xfrm>
                <a:off x="7124700" y="806450"/>
                <a:ext cx="1524000" cy="1601788"/>
              </a:xfrm>
              <a:custGeom>
                <a:avLst/>
                <a:gdLst>
                  <a:gd name="T0" fmla="*/ 31 w 174"/>
                  <a:gd name="T1" fmla="*/ 1 h 183"/>
                  <a:gd name="T2" fmla="*/ 23 w 174"/>
                  <a:gd name="T3" fmla="*/ 10 h 183"/>
                  <a:gd name="T4" fmla="*/ 134 w 174"/>
                  <a:gd name="T5" fmla="*/ 56 h 183"/>
                  <a:gd name="T6" fmla="*/ 138 w 174"/>
                  <a:gd name="T7" fmla="*/ 50 h 183"/>
                  <a:gd name="T8" fmla="*/ 133 w 174"/>
                  <a:gd name="T9" fmla="*/ 53 h 183"/>
                  <a:gd name="T10" fmla="*/ 163 w 174"/>
                  <a:gd name="T11" fmla="*/ 109 h 183"/>
                  <a:gd name="T12" fmla="*/ 150 w 174"/>
                  <a:gd name="T13" fmla="*/ 117 h 183"/>
                  <a:gd name="T14" fmla="*/ 139 w 174"/>
                  <a:gd name="T15" fmla="*/ 120 h 183"/>
                  <a:gd name="T16" fmla="*/ 146 w 174"/>
                  <a:gd name="T17" fmla="*/ 103 h 183"/>
                  <a:gd name="T18" fmla="*/ 145 w 174"/>
                  <a:gd name="T19" fmla="*/ 84 h 183"/>
                  <a:gd name="T20" fmla="*/ 148 w 174"/>
                  <a:gd name="T21" fmla="*/ 78 h 183"/>
                  <a:gd name="T22" fmla="*/ 133 w 174"/>
                  <a:gd name="T23" fmla="*/ 70 h 183"/>
                  <a:gd name="T24" fmla="*/ 120 w 174"/>
                  <a:gd name="T25" fmla="*/ 65 h 183"/>
                  <a:gd name="T26" fmla="*/ 109 w 174"/>
                  <a:gd name="T27" fmla="*/ 72 h 183"/>
                  <a:gd name="T28" fmla="*/ 110 w 174"/>
                  <a:gd name="T29" fmla="*/ 76 h 183"/>
                  <a:gd name="T30" fmla="*/ 105 w 174"/>
                  <a:gd name="T31" fmla="*/ 83 h 183"/>
                  <a:gd name="T32" fmla="*/ 99 w 174"/>
                  <a:gd name="T33" fmla="*/ 88 h 183"/>
                  <a:gd name="T34" fmla="*/ 98 w 174"/>
                  <a:gd name="T35" fmla="*/ 81 h 183"/>
                  <a:gd name="T36" fmla="*/ 91 w 174"/>
                  <a:gd name="T37" fmla="*/ 92 h 183"/>
                  <a:gd name="T38" fmla="*/ 88 w 174"/>
                  <a:gd name="T39" fmla="*/ 99 h 183"/>
                  <a:gd name="T40" fmla="*/ 86 w 174"/>
                  <a:gd name="T41" fmla="*/ 122 h 183"/>
                  <a:gd name="T42" fmla="*/ 85 w 174"/>
                  <a:gd name="T43" fmla="*/ 131 h 183"/>
                  <a:gd name="T44" fmla="*/ 94 w 174"/>
                  <a:gd name="T45" fmla="*/ 161 h 183"/>
                  <a:gd name="T46" fmla="*/ 85 w 174"/>
                  <a:gd name="T47" fmla="*/ 183 h 183"/>
                  <a:gd name="T48" fmla="*/ 129 w 174"/>
                  <a:gd name="T49" fmla="*/ 181 h 183"/>
                  <a:gd name="T50" fmla="*/ 157 w 174"/>
                  <a:gd name="T51" fmla="*/ 176 h 183"/>
                  <a:gd name="T52" fmla="*/ 163 w 174"/>
                  <a:gd name="T53" fmla="*/ 160 h 183"/>
                  <a:gd name="T54" fmla="*/ 169 w 174"/>
                  <a:gd name="T55" fmla="*/ 149 h 183"/>
                  <a:gd name="T56" fmla="*/ 174 w 174"/>
                  <a:gd name="T57" fmla="*/ 149 h 183"/>
                  <a:gd name="T58" fmla="*/ 4 w 174"/>
                  <a:gd name="T59" fmla="*/ 47 h 183"/>
                  <a:gd name="T60" fmla="*/ 18 w 174"/>
                  <a:gd name="T61" fmla="*/ 40 h 183"/>
                  <a:gd name="T62" fmla="*/ 30 w 174"/>
                  <a:gd name="T63" fmla="*/ 29 h 183"/>
                  <a:gd name="T64" fmla="*/ 43 w 174"/>
                  <a:gd name="T65" fmla="*/ 20 h 183"/>
                  <a:gd name="T66" fmla="*/ 45 w 174"/>
                  <a:gd name="T67" fmla="*/ 23 h 183"/>
                  <a:gd name="T68" fmla="*/ 36 w 174"/>
                  <a:gd name="T69" fmla="*/ 36 h 183"/>
                  <a:gd name="T70" fmla="*/ 43 w 174"/>
                  <a:gd name="T71" fmla="*/ 34 h 183"/>
                  <a:gd name="T72" fmla="*/ 54 w 174"/>
                  <a:gd name="T73" fmla="*/ 39 h 183"/>
                  <a:gd name="T74" fmla="*/ 67 w 174"/>
                  <a:gd name="T75" fmla="*/ 45 h 183"/>
                  <a:gd name="T76" fmla="*/ 74 w 174"/>
                  <a:gd name="T77" fmla="*/ 47 h 183"/>
                  <a:gd name="T78" fmla="*/ 95 w 174"/>
                  <a:gd name="T79" fmla="*/ 39 h 183"/>
                  <a:gd name="T80" fmla="*/ 106 w 174"/>
                  <a:gd name="T81" fmla="*/ 42 h 183"/>
                  <a:gd name="T82" fmla="*/ 122 w 174"/>
                  <a:gd name="T83" fmla="*/ 41 h 183"/>
                  <a:gd name="T84" fmla="*/ 130 w 174"/>
                  <a:gd name="T85" fmla="*/ 53 h 183"/>
                  <a:gd name="T86" fmla="*/ 130 w 174"/>
                  <a:gd name="T87" fmla="*/ 55 h 183"/>
                  <a:gd name="T88" fmla="*/ 115 w 174"/>
                  <a:gd name="T89" fmla="*/ 57 h 183"/>
                  <a:gd name="T90" fmla="*/ 95 w 174"/>
                  <a:gd name="T91" fmla="*/ 59 h 183"/>
                  <a:gd name="T92" fmla="*/ 80 w 174"/>
                  <a:gd name="T93" fmla="*/ 67 h 183"/>
                  <a:gd name="T94" fmla="*/ 70 w 174"/>
                  <a:gd name="T95" fmla="*/ 68 h 183"/>
                  <a:gd name="T96" fmla="*/ 64 w 174"/>
                  <a:gd name="T97" fmla="*/ 77 h 183"/>
                  <a:gd name="T98" fmla="*/ 54 w 174"/>
                  <a:gd name="T99" fmla="*/ 70 h 183"/>
                  <a:gd name="T100" fmla="*/ 26 w 174"/>
                  <a:gd name="T101" fmla="*/ 6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4" h="183">
                    <a:moveTo>
                      <a:pt x="18" y="10"/>
                    </a:moveTo>
                    <a:cubicBezTo>
                      <a:pt x="21" y="7"/>
                      <a:pt x="21" y="7"/>
                      <a:pt x="21" y="7"/>
                    </a:cubicBezTo>
                    <a:cubicBezTo>
                      <a:pt x="24" y="6"/>
                      <a:pt x="24" y="6"/>
                      <a:pt x="24" y="6"/>
                    </a:cubicBezTo>
                    <a:cubicBezTo>
                      <a:pt x="31" y="1"/>
                      <a:pt x="31" y="1"/>
                      <a:pt x="31" y="1"/>
                    </a:cubicBezTo>
                    <a:cubicBezTo>
                      <a:pt x="34" y="0"/>
                      <a:pt x="34" y="0"/>
                      <a:pt x="34" y="0"/>
                    </a:cubicBezTo>
                    <a:cubicBezTo>
                      <a:pt x="35" y="1"/>
                      <a:pt x="35" y="1"/>
                      <a:pt x="35" y="1"/>
                    </a:cubicBezTo>
                    <a:cubicBezTo>
                      <a:pt x="28" y="7"/>
                      <a:pt x="28" y="7"/>
                      <a:pt x="28" y="7"/>
                    </a:cubicBezTo>
                    <a:cubicBezTo>
                      <a:pt x="23" y="10"/>
                      <a:pt x="23" y="10"/>
                      <a:pt x="23" y="10"/>
                    </a:cubicBezTo>
                    <a:cubicBezTo>
                      <a:pt x="21" y="11"/>
                      <a:pt x="21" y="11"/>
                      <a:pt x="21" y="11"/>
                    </a:cubicBezTo>
                    <a:lnTo>
                      <a:pt x="18" y="10"/>
                    </a:lnTo>
                    <a:close/>
                    <a:moveTo>
                      <a:pt x="133" y="53"/>
                    </a:moveTo>
                    <a:cubicBezTo>
                      <a:pt x="134" y="56"/>
                      <a:pt x="134" y="56"/>
                      <a:pt x="134" y="56"/>
                    </a:cubicBezTo>
                    <a:cubicBezTo>
                      <a:pt x="139" y="56"/>
                      <a:pt x="139" y="56"/>
                      <a:pt x="139" y="56"/>
                    </a:cubicBezTo>
                    <a:cubicBezTo>
                      <a:pt x="140" y="55"/>
                      <a:pt x="140" y="55"/>
                      <a:pt x="140" y="55"/>
                    </a:cubicBezTo>
                    <a:cubicBezTo>
                      <a:pt x="140" y="55"/>
                      <a:pt x="140" y="53"/>
                      <a:pt x="140" y="52"/>
                    </a:cubicBezTo>
                    <a:cubicBezTo>
                      <a:pt x="139" y="52"/>
                      <a:pt x="138" y="50"/>
                      <a:pt x="138" y="50"/>
                    </a:cubicBezTo>
                    <a:cubicBezTo>
                      <a:pt x="135" y="50"/>
                      <a:pt x="135" y="50"/>
                      <a:pt x="135" y="50"/>
                    </a:cubicBezTo>
                    <a:cubicBezTo>
                      <a:pt x="133" y="50"/>
                      <a:pt x="133" y="50"/>
                      <a:pt x="133" y="50"/>
                    </a:cubicBezTo>
                    <a:cubicBezTo>
                      <a:pt x="132" y="52"/>
                      <a:pt x="132" y="52"/>
                      <a:pt x="132" y="52"/>
                    </a:cubicBezTo>
                    <a:lnTo>
                      <a:pt x="133" y="53"/>
                    </a:lnTo>
                    <a:close/>
                    <a:moveTo>
                      <a:pt x="173" y="137"/>
                    </a:moveTo>
                    <a:cubicBezTo>
                      <a:pt x="169" y="126"/>
                      <a:pt x="169" y="126"/>
                      <a:pt x="169" y="126"/>
                    </a:cubicBezTo>
                    <a:cubicBezTo>
                      <a:pt x="166" y="114"/>
                      <a:pt x="166" y="114"/>
                      <a:pt x="166" y="114"/>
                    </a:cubicBezTo>
                    <a:cubicBezTo>
                      <a:pt x="163" y="109"/>
                      <a:pt x="163" y="109"/>
                      <a:pt x="163" y="109"/>
                    </a:cubicBezTo>
                    <a:cubicBezTo>
                      <a:pt x="159" y="107"/>
                      <a:pt x="159" y="107"/>
                      <a:pt x="159" y="107"/>
                    </a:cubicBezTo>
                    <a:cubicBezTo>
                      <a:pt x="157" y="108"/>
                      <a:pt x="157" y="108"/>
                      <a:pt x="157" y="108"/>
                    </a:cubicBezTo>
                    <a:cubicBezTo>
                      <a:pt x="152" y="111"/>
                      <a:pt x="152" y="111"/>
                      <a:pt x="152" y="111"/>
                    </a:cubicBezTo>
                    <a:cubicBezTo>
                      <a:pt x="150" y="117"/>
                      <a:pt x="150" y="117"/>
                      <a:pt x="150" y="117"/>
                    </a:cubicBezTo>
                    <a:cubicBezTo>
                      <a:pt x="146" y="122"/>
                      <a:pt x="146" y="122"/>
                      <a:pt x="146" y="122"/>
                    </a:cubicBezTo>
                    <a:cubicBezTo>
                      <a:pt x="144" y="123"/>
                      <a:pt x="144" y="123"/>
                      <a:pt x="144" y="123"/>
                    </a:cubicBezTo>
                    <a:cubicBezTo>
                      <a:pt x="142" y="122"/>
                      <a:pt x="142" y="122"/>
                      <a:pt x="142" y="122"/>
                    </a:cubicBezTo>
                    <a:cubicBezTo>
                      <a:pt x="142" y="122"/>
                      <a:pt x="139" y="120"/>
                      <a:pt x="139" y="120"/>
                    </a:cubicBezTo>
                    <a:cubicBezTo>
                      <a:pt x="139" y="119"/>
                      <a:pt x="140" y="113"/>
                      <a:pt x="140" y="113"/>
                    </a:cubicBezTo>
                    <a:cubicBezTo>
                      <a:pt x="144" y="111"/>
                      <a:pt x="144" y="111"/>
                      <a:pt x="144" y="111"/>
                    </a:cubicBezTo>
                    <a:cubicBezTo>
                      <a:pt x="145" y="107"/>
                      <a:pt x="145" y="107"/>
                      <a:pt x="145" y="107"/>
                    </a:cubicBezTo>
                    <a:cubicBezTo>
                      <a:pt x="146" y="103"/>
                      <a:pt x="146" y="103"/>
                      <a:pt x="146" y="103"/>
                    </a:cubicBezTo>
                    <a:cubicBezTo>
                      <a:pt x="150" y="101"/>
                      <a:pt x="150" y="101"/>
                      <a:pt x="150" y="101"/>
                    </a:cubicBezTo>
                    <a:cubicBezTo>
                      <a:pt x="149" y="88"/>
                      <a:pt x="149" y="88"/>
                      <a:pt x="149" y="88"/>
                    </a:cubicBezTo>
                    <a:cubicBezTo>
                      <a:pt x="147" y="85"/>
                      <a:pt x="147" y="85"/>
                      <a:pt x="147" y="85"/>
                    </a:cubicBezTo>
                    <a:cubicBezTo>
                      <a:pt x="145" y="84"/>
                      <a:pt x="145" y="84"/>
                      <a:pt x="145" y="84"/>
                    </a:cubicBezTo>
                    <a:cubicBezTo>
                      <a:pt x="144" y="81"/>
                      <a:pt x="144" y="81"/>
                      <a:pt x="144" y="81"/>
                    </a:cubicBezTo>
                    <a:cubicBezTo>
                      <a:pt x="145" y="80"/>
                      <a:pt x="145" y="80"/>
                      <a:pt x="145" y="80"/>
                    </a:cubicBezTo>
                    <a:cubicBezTo>
                      <a:pt x="147" y="80"/>
                      <a:pt x="147" y="80"/>
                      <a:pt x="147" y="80"/>
                    </a:cubicBezTo>
                    <a:cubicBezTo>
                      <a:pt x="148" y="78"/>
                      <a:pt x="148" y="78"/>
                      <a:pt x="148" y="78"/>
                    </a:cubicBezTo>
                    <a:cubicBezTo>
                      <a:pt x="144" y="75"/>
                      <a:pt x="144" y="75"/>
                      <a:pt x="144" y="75"/>
                    </a:cubicBezTo>
                    <a:cubicBezTo>
                      <a:pt x="143" y="72"/>
                      <a:pt x="143" y="72"/>
                      <a:pt x="143" y="72"/>
                    </a:cubicBezTo>
                    <a:cubicBezTo>
                      <a:pt x="139" y="72"/>
                      <a:pt x="139" y="72"/>
                      <a:pt x="139" y="72"/>
                    </a:cubicBezTo>
                    <a:cubicBezTo>
                      <a:pt x="133" y="70"/>
                      <a:pt x="133" y="70"/>
                      <a:pt x="133" y="70"/>
                    </a:cubicBezTo>
                    <a:cubicBezTo>
                      <a:pt x="126" y="65"/>
                      <a:pt x="126" y="65"/>
                      <a:pt x="126" y="65"/>
                    </a:cubicBezTo>
                    <a:cubicBezTo>
                      <a:pt x="122" y="65"/>
                      <a:pt x="122" y="65"/>
                      <a:pt x="122" y="65"/>
                    </a:cubicBezTo>
                    <a:cubicBezTo>
                      <a:pt x="121" y="66"/>
                      <a:pt x="121" y="66"/>
                      <a:pt x="121" y="66"/>
                    </a:cubicBezTo>
                    <a:cubicBezTo>
                      <a:pt x="120" y="65"/>
                      <a:pt x="120" y="65"/>
                      <a:pt x="120" y="65"/>
                    </a:cubicBezTo>
                    <a:cubicBezTo>
                      <a:pt x="116" y="62"/>
                      <a:pt x="116" y="62"/>
                      <a:pt x="116" y="62"/>
                    </a:cubicBezTo>
                    <a:cubicBezTo>
                      <a:pt x="112" y="65"/>
                      <a:pt x="112" y="65"/>
                      <a:pt x="112" y="65"/>
                    </a:cubicBezTo>
                    <a:cubicBezTo>
                      <a:pt x="108" y="68"/>
                      <a:pt x="108" y="68"/>
                      <a:pt x="108" y="68"/>
                    </a:cubicBezTo>
                    <a:cubicBezTo>
                      <a:pt x="109" y="72"/>
                      <a:pt x="109" y="72"/>
                      <a:pt x="109" y="72"/>
                    </a:cubicBezTo>
                    <a:cubicBezTo>
                      <a:pt x="110" y="73"/>
                      <a:pt x="110" y="73"/>
                      <a:pt x="110" y="73"/>
                    </a:cubicBezTo>
                    <a:cubicBezTo>
                      <a:pt x="113" y="73"/>
                      <a:pt x="113" y="73"/>
                      <a:pt x="113" y="73"/>
                    </a:cubicBezTo>
                    <a:cubicBezTo>
                      <a:pt x="113" y="75"/>
                      <a:pt x="113" y="75"/>
                      <a:pt x="113" y="75"/>
                    </a:cubicBezTo>
                    <a:cubicBezTo>
                      <a:pt x="110" y="76"/>
                      <a:pt x="110" y="76"/>
                      <a:pt x="110" y="76"/>
                    </a:cubicBezTo>
                    <a:cubicBezTo>
                      <a:pt x="106" y="76"/>
                      <a:pt x="106" y="76"/>
                      <a:pt x="106" y="76"/>
                    </a:cubicBezTo>
                    <a:cubicBezTo>
                      <a:pt x="105" y="78"/>
                      <a:pt x="105" y="78"/>
                      <a:pt x="105" y="78"/>
                    </a:cubicBezTo>
                    <a:cubicBezTo>
                      <a:pt x="104" y="81"/>
                      <a:pt x="104" y="81"/>
                      <a:pt x="104" y="81"/>
                    </a:cubicBezTo>
                    <a:cubicBezTo>
                      <a:pt x="105" y="83"/>
                      <a:pt x="105" y="83"/>
                      <a:pt x="105" y="83"/>
                    </a:cubicBezTo>
                    <a:cubicBezTo>
                      <a:pt x="105" y="91"/>
                      <a:pt x="105" y="91"/>
                      <a:pt x="105" y="91"/>
                    </a:cubicBezTo>
                    <a:cubicBezTo>
                      <a:pt x="100" y="94"/>
                      <a:pt x="100" y="94"/>
                      <a:pt x="100" y="94"/>
                    </a:cubicBezTo>
                    <a:cubicBezTo>
                      <a:pt x="99" y="93"/>
                      <a:pt x="99" y="93"/>
                      <a:pt x="99" y="93"/>
                    </a:cubicBezTo>
                    <a:cubicBezTo>
                      <a:pt x="99" y="88"/>
                      <a:pt x="99" y="88"/>
                      <a:pt x="99" y="88"/>
                    </a:cubicBezTo>
                    <a:cubicBezTo>
                      <a:pt x="101" y="84"/>
                      <a:pt x="101" y="84"/>
                      <a:pt x="101" y="84"/>
                    </a:cubicBezTo>
                    <a:cubicBezTo>
                      <a:pt x="102" y="81"/>
                      <a:pt x="102" y="81"/>
                      <a:pt x="102" y="81"/>
                    </a:cubicBezTo>
                    <a:cubicBezTo>
                      <a:pt x="101" y="80"/>
                      <a:pt x="101" y="80"/>
                      <a:pt x="101" y="80"/>
                    </a:cubicBezTo>
                    <a:cubicBezTo>
                      <a:pt x="98" y="81"/>
                      <a:pt x="98" y="81"/>
                      <a:pt x="98" y="81"/>
                    </a:cubicBezTo>
                    <a:cubicBezTo>
                      <a:pt x="97" y="87"/>
                      <a:pt x="97" y="87"/>
                      <a:pt x="97" y="87"/>
                    </a:cubicBezTo>
                    <a:cubicBezTo>
                      <a:pt x="93" y="88"/>
                      <a:pt x="93" y="88"/>
                      <a:pt x="93" y="88"/>
                    </a:cubicBezTo>
                    <a:cubicBezTo>
                      <a:pt x="91" y="91"/>
                      <a:pt x="91" y="91"/>
                      <a:pt x="91" y="91"/>
                    </a:cubicBezTo>
                    <a:cubicBezTo>
                      <a:pt x="91" y="92"/>
                      <a:pt x="91" y="92"/>
                      <a:pt x="91" y="92"/>
                    </a:cubicBezTo>
                    <a:cubicBezTo>
                      <a:pt x="92" y="93"/>
                      <a:pt x="92" y="93"/>
                      <a:pt x="92" y="93"/>
                    </a:cubicBezTo>
                    <a:cubicBezTo>
                      <a:pt x="91" y="97"/>
                      <a:pt x="91" y="97"/>
                      <a:pt x="91" y="97"/>
                    </a:cubicBezTo>
                    <a:cubicBezTo>
                      <a:pt x="88" y="97"/>
                      <a:pt x="88" y="97"/>
                      <a:pt x="88" y="97"/>
                    </a:cubicBezTo>
                    <a:cubicBezTo>
                      <a:pt x="88" y="99"/>
                      <a:pt x="88" y="99"/>
                      <a:pt x="88" y="99"/>
                    </a:cubicBezTo>
                    <a:cubicBezTo>
                      <a:pt x="89" y="102"/>
                      <a:pt x="89" y="102"/>
                      <a:pt x="89" y="102"/>
                    </a:cubicBezTo>
                    <a:cubicBezTo>
                      <a:pt x="87" y="110"/>
                      <a:pt x="87" y="110"/>
                      <a:pt x="87" y="110"/>
                    </a:cubicBezTo>
                    <a:cubicBezTo>
                      <a:pt x="85" y="116"/>
                      <a:pt x="85" y="116"/>
                      <a:pt x="85" y="116"/>
                    </a:cubicBezTo>
                    <a:cubicBezTo>
                      <a:pt x="86" y="122"/>
                      <a:pt x="86" y="122"/>
                      <a:pt x="86" y="122"/>
                    </a:cubicBezTo>
                    <a:cubicBezTo>
                      <a:pt x="87" y="124"/>
                      <a:pt x="87" y="124"/>
                      <a:pt x="87" y="124"/>
                    </a:cubicBezTo>
                    <a:cubicBezTo>
                      <a:pt x="86" y="127"/>
                      <a:pt x="86" y="127"/>
                      <a:pt x="86" y="127"/>
                    </a:cubicBezTo>
                    <a:cubicBezTo>
                      <a:pt x="85" y="128"/>
                      <a:pt x="85" y="128"/>
                      <a:pt x="85" y="128"/>
                    </a:cubicBezTo>
                    <a:cubicBezTo>
                      <a:pt x="85" y="131"/>
                      <a:pt x="85" y="131"/>
                      <a:pt x="85" y="131"/>
                    </a:cubicBezTo>
                    <a:cubicBezTo>
                      <a:pt x="89" y="139"/>
                      <a:pt x="89" y="139"/>
                      <a:pt x="89" y="139"/>
                    </a:cubicBezTo>
                    <a:cubicBezTo>
                      <a:pt x="93" y="148"/>
                      <a:pt x="93" y="148"/>
                      <a:pt x="93" y="148"/>
                    </a:cubicBezTo>
                    <a:cubicBezTo>
                      <a:pt x="95" y="155"/>
                      <a:pt x="95" y="155"/>
                      <a:pt x="95" y="155"/>
                    </a:cubicBezTo>
                    <a:cubicBezTo>
                      <a:pt x="94" y="161"/>
                      <a:pt x="94" y="161"/>
                      <a:pt x="94" y="161"/>
                    </a:cubicBezTo>
                    <a:cubicBezTo>
                      <a:pt x="93" y="169"/>
                      <a:pt x="93" y="169"/>
                      <a:pt x="93" y="169"/>
                    </a:cubicBezTo>
                    <a:cubicBezTo>
                      <a:pt x="90" y="176"/>
                      <a:pt x="90" y="176"/>
                      <a:pt x="90" y="176"/>
                    </a:cubicBezTo>
                    <a:cubicBezTo>
                      <a:pt x="89" y="179"/>
                      <a:pt x="89" y="179"/>
                      <a:pt x="89" y="179"/>
                    </a:cubicBezTo>
                    <a:cubicBezTo>
                      <a:pt x="85" y="183"/>
                      <a:pt x="85" y="183"/>
                      <a:pt x="85" y="183"/>
                    </a:cubicBezTo>
                    <a:cubicBezTo>
                      <a:pt x="91" y="183"/>
                      <a:pt x="91" y="183"/>
                      <a:pt x="91" y="183"/>
                    </a:cubicBezTo>
                    <a:cubicBezTo>
                      <a:pt x="119" y="180"/>
                      <a:pt x="119" y="180"/>
                      <a:pt x="119" y="180"/>
                    </a:cubicBezTo>
                    <a:cubicBezTo>
                      <a:pt x="129" y="179"/>
                      <a:pt x="129" y="179"/>
                      <a:pt x="129" y="179"/>
                    </a:cubicBezTo>
                    <a:cubicBezTo>
                      <a:pt x="129" y="181"/>
                      <a:pt x="129" y="181"/>
                      <a:pt x="129" y="181"/>
                    </a:cubicBezTo>
                    <a:cubicBezTo>
                      <a:pt x="138" y="179"/>
                      <a:pt x="138" y="179"/>
                      <a:pt x="138" y="179"/>
                    </a:cubicBezTo>
                    <a:cubicBezTo>
                      <a:pt x="152" y="177"/>
                      <a:pt x="152" y="177"/>
                      <a:pt x="152" y="177"/>
                    </a:cubicBezTo>
                    <a:cubicBezTo>
                      <a:pt x="157" y="177"/>
                      <a:pt x="157" y="177"/>
                      <a:pt x="157" y="177"/>
                    </a:cubicBezTo>
                    <a:cubicBezTo>
                      <a:pt x="157" y="176"/>
                      <a:pt x="157" y="176"/>
                      <a:pt x="157" y="176"/>
                    </a:cubicBezTo>
                    <a:cubicBezTo>
                      <a:pt x="158" y="174"/>
                      <a:pt x="158" y="174"/>
                      <a:pt x="158" y="174"/>
                    </a:cubicBezTo>
                    <a:cubicBezTo>
                      <a:pt x="160" y="169"/>
                      <a:pt x="160" y="169"/>
                      <a:pt x="160" y="169"/>
                    </a:cubicBezTo>
                    <a:cubicBezTo>
                      <a:pt x="163" y="167"/>
                      <a:pt x="163" y="167"/>
                      <a:pt x="163" y="167"/>
                    </a:cubicBezTo>
                    <a:cubicBezTo>
                      <a:pt x="163" y="160"/>
                      <a:pt x="163" y="160"/>
                      <a:pt x="163" y="160"/>
                    </a:cubicBezTo>
                    <a:cubicBezTo>
                      <a:pt x="165" y="158"/>
                      <a:pt x="165" y="158"/>
                      <a:pt x="165" y="158"/>
                    </a:cubicBezTo>
                    <a:cubicBezTo>
                      <a:pt x="166" y="158"/>
                      <a:pt x="166" y="158"/>
                      <a:pt x="166" y="158"/>
                    </a:cubicBezTo>
                    <a:cubicBezTo>
                      <a:pt x="167" y="153"/>
                      <a:pt x="167" y="153"/>
                      <a:pt x="167" y="153"/>
                    </a:cubicBezTo>
                    <a:cubicBezTo>
                      <a:pt x="169" y="149"/>
                      <a:pt x="169" y="149"/>
                      <a:pt x="169" y="149"/>
                    </a:cubicBezTo>
                    <a:cubicBezTo>
                      <a:pt x="170" y="150"/>
                      <a:pt x="170" y="150"/>
                      <a:pt x="170" y="150"/>
                    </a:cubicBezTo>
                    <a:cubicBezTo>
                      <a:pt x="170" y="150"/>
                      <a:pt x="170" y="150"/>
                      <a:pt x="170" y="150"/>
                    </a:cubicBezTo>
                    <a:cubicBezTo>
                      <a:pt x="171" y="151"/>
                      <a:pt x="171" y="151"/>
                      <a:pt x="171" y="151"/>
                    </a:cubicBezTo>
                    <a:cubicBezTo>
                      <a:pt x="174" y="149"/>
                      <a:pt x="174" y="149"/>
                      <a:pt x="174" y="149"/>
                    </a:cubicBezTo>
                    <a:lnTo>
                      <a:pt x="173" y="137"/>
                    </a:lnTo>
                    <a:close/>
                    <a:moveTo>
                      <a:pt x="0" y="49"/>
                    </a:moveTo>
                    <a:cubicBezTo>
                      <a:pt x="1" y="48"/>
                      <a:pt x="1" y="48"/>
                      <a:pt x="1" y="48"/>
                    </a:cubicBezTo>
                    <a:cubicBezTo>
                      <a:pt x="4" y="47"/>
                      <a:pt x="4" y="47"/>
                      <a:pt x="4" y="47"/>
                    </a:cubicBezTo>
                    <a:cubicBezTo>
                      <a:pt x="9" y="44"/>
                      <a:pt x="9" y="44"/>
                      <a:pt x="9" y="44"/>
                    </a:cubicBezTo>
                    <a:cubicBezTo>
                      <a:pt x="9" y="42"/>
                      <a:pt x="9" y="42"/>
                      <a:pt x="9" y="42"/>
                    </a:cubicBezTo>
                    <a:cubicBezTo>
                      <a:pt x="10" y="42"/>
                      <a:pt x="10" y="42"/>
                      <a:pt x="10" y="42"/>
                    </a:cubicBezTo>
                    <a:cubicBezTo>
                      <a:pt x="18" y="40"/>
                      <a:pt x="18" y="40"/>
                      <a:pt x="18" y="40"/>
                    </a:cubicBezTo>
                    <a:cubicBezTo>
                      <a:pt x="21" y="38"/>
                      <a:pt x="21" y="38"/>
                      <a:pt x="21" y="38"/>
                    </a:cubicBezTo>
                    <a:cubicBezTo>
                      <a:pt x="27" y="35"/>
                      <a:pt x="27" y="35"/>
                      <a:pt x="27" y="35"/>
                    </a:cubicBezTo>
                    <a:cubicBezTo>
                      <a:pt x="27" y="33"/>
                      <a:pt x="27" y="33"/>
                      <a:pt x="27" y="33"/>
                    </a:cubicBezTo>
                    <a:cubicBezTo>
                      <a:pt x="30" y="29"/>
                      <a:pt x="30" y="29"/>
                      <a:pt x="30" y="29"/>
                    </a:cubicBezTo>
                    <a:cubicBezTo>
                      <a:pt x="32" y="28"/>
                      <a:pt x="32" y="28"/>
                      <a:pt x="32" y="28"/>
                    </a:cubicBezTo>
                    <a:cubicBezTo>
                      <a:pt x="34" y="26"/>
                      <a:pt x="34" y="26"/>
                      <a:pt x="34" y="26"/>
                    </a:cubicBezTo>
                    <a:cubicBezTo>
                      <a:pt x="37" y="23"/>
                      <a:pt x="37" y="23"/>
                      <a:pt x="37" y="23"/>
                    </a:cubicBezTo>
                    <a:cubicBezTo>
                      <a:pt x="43" y="20"/>
                      <a:pt x="43" y="20"/>
                      <a:pt x="43" y="20"/>
                    </a:cubicBezTo>
                    <a:cubicBezTo>
                      <a:pt x="49" y="19"/>
                      <a:pt x="49" y="19"/>
                      <a:pt x="49" y="19"/>
                    </a:cubicBezTo>
                    <a:cubicBezTo>
                      <a:pt x="50" y="20"/>
                      <a:pt x="50" y="20"/>
                      <a:pt x="50" y="20"/>
                    </a:cubicBezTo>
                    <a:cubicBezTo>
                      <a:pt x="50" y="22"/>
                      <a:pt x="50" y="22"/>
                      <a:pt x="50" y="22"/>
                    </a:cubicBezTo>
                    <a:cubicBezTo>
                      <a:pt x="45" y="23"/>
                      <a:pt x="45" y="23"/>
                      <a:pt x="45" y="23"/>
                    </a:cubicBezTo>
                    <a:cubicBezTo>
                      <a:pt x="43" y="27"/>
                      <a:pt x="43" y="27"/>
                      <a:pt x="43" y="27"/>
                    </a:cubicBezTo>
                    <a:cubicBezTo>
                      <a:pt x="40" y="28"/>
                      <a:pt x="40" y="28"/>
                      <a:pt x="40" y="28"/>
                    </a:cubicBezTo>
                    <a:cubicBezTo>
                      <a:pt x="39" y="31"/>
                      <a:pt x="39" y="31"/>
                      <a:pt x="39" y="31"/>
                    </a:cubicBezTo>
                    <a:cubicBezTo>
                      <a:pt x="36" y="36"/>
                      <a:pt x="36" y="36"/>
                      <a:pt x="36" y="36"/>
                    </a:cubicBezTo>
                    <a:cubicBezTo>
                      <a:pt x="36" y="39"/>
                      <a:pt x="36" y="39"/>
                      <a:pt x="36" y="39"/>
                    </a:cubicBezTo>
                    <a:cubicBezTo>
                      <a:pt x="37" y="40"/>
                      <a:pt x="37" y="40"/>
                      <a:pt x="37" y="40"/>
                    </a:cubicBezTo>
                    <a:cubicBezTo>
                      <a:pt x="38" y="38"/>
                      <a:pt x="38" y="38"/>
                      <a:pt x="38" y="38"/>
                    </a:cubicBezTo>
                    <a:cubicBezTo>
                      <a:pt x="43" y="34"/>
                      <a:pt x="43" y="34"/>
                      <a:pt x="43" y="34"/>
                    </a:cubicBezTo>
                    <a:cubicBezTo>
                      <a:pt x="45" y="36"/>
                      <a:pt x="45" y="36"/>
                      <a:pt x="45" y="36"/>
                    </a:cubicBezTo>
                    <a:cubicBezTo>
                      <a:pt x="48" y="36"/>
                      <a:pt x="48" y="36"/>
                      <a:pt x="48" y="36"/>
                    </a:cubicBezTo>
                    <a:cubicBezTo>
                      <a:pt x="52" y="37"/>
                      <a:pt x="52" y="37"/>
                      <a:pt x="52" y="37"/>
                    </a:cubicBezTo>
                    <a:cubicBezTo>
                      <a:pt x="54" y="39"/>
                      <a:pt x="54" y="39"/>
                      <a:pt x="54" y="39"/>
                    </a:cubicBezTo>
                    <a:cubicBezTo>
                      <a:pt x="56" y="43"/>
                      <a:pt x="56" y="43"/>
                      <a:pt x="56" y="43"/>
                    </a:cubicBezTo>
                    <a:cubicBezTo>
                      <a:pt x="59" y="47"/>
                      <a:pt x="59" y="47"/>
                      <a:pt x="59" y="47"/>
                    </a:cubicBezTo>
                    <a:cubicBezTo>
                      <a:pt x="65" y="47"/>
                      <a:pt x="65" y="47"/>
                      <a:pt x="65" y="47"/>
                    </a:cubicBezTo>
                    <a:cubicBezTo>
                      <a:pt x="67" y="45"/>
                      <a:pt x="67" y="45"/>
                      <a:pt x="67" y="45"/>
                    </a:cubicBezTo>
                    <a:cubicBezTo>
                      <a:pt x="69" y="47"/>
                      <a:pt x="69" y="47"/>
                      <a:pt x="69" y="47"/>
                    </a:cubicBezTo>
                    <a:cubicBezTo>
                      <a:pt x="71" y="48"/>
                      <a:pt x="71" y="48"/>
                      <a:pt x="71" y="48"/>
                    </a:cubicBezTo>
                    <a:cubicBezTo>
                      <a:pt x="73" y="47"/>
                      <a:pt x="73" y="47"/>
                      <a:pt x="73" y="47"/>
                    </a:cubicBezTo>
                    <a:cubicBezTo>
                      <a:pt x="74" y="47"/>
                      <a:pt x="74" y="47"/>
                      <a:pt x="74" y="47"/>
                    </a:cubicBezTo>
                    <a:cubicBezTo>
                      <a:pt x="76" y="45"/>
                      <a:pt x="76" y="45"/>
                      <a:pt x="76" y="45"/>
                    </a:cubicBezTo>
                    <a:cubicBezTo>
                      <a:pt x="82" y="41"/>
                      <a:pt x="82" y="41"/>
                      <a:pt x="82" y="41"/>
                    </a:cubicBezTo>
                    <a:cubicBezTo>
                      <a:pt x="86" y="39"/>
                      <a:pt x="86" y="39"/>
                      <a:pt x="86" y="39"/>
                    </a:cubicBezTo>
                    <a:cubicBezTo>
                      <a:pt x="95" y="39"/>
                      <a:pt x="95" y="39"/>
                      <a:pt x="95" y="39"/>
                    </a:cubicBezTo>
                    <a:cubicBezTo>
                      <a:pt x="101" y="36"/>
                      <a:pt x="101" y="36"/>
                      <a:pt x="101" y="36"/>
                    </a:cubicBezTo>
                    <a:cubicBezTo>
                      <a:pt x="105" y="34"/>
                      <a:pt x="105" y="34"/>
                      <a:pt x="105" y="34"/>
                    </a:cubicBezTo>
                    <a:cubicBezTo>
                      <a:pt x="106" y="34"/>
                      <a:pt x="106" y="34"/>
                      <a:pt x="106" y="34"/>
                    </a:cubicBezTo>
                    <a:cubicBezTo>
                      <a:pt x="106" y="42"/>
                      <a:pt x="106" y="42"/>
                      <a:pt x="106" y="42"/>
                    </a:cubicBezTo>
                    <a:cubicBezTo>
                      <a:pt x="107" y="42"/>
                      <a:pt x="107" y="42"/>
                      <a:pt x="107" y="42"/>
                    </a:cubicBezTo>
                    <a:cubicBezTo>
                      <a:pt x="111" y="44"/>
                      <a:pt x="111" y="44"/>
                      <a:pt x="111" y="44"/>
                    </a:cubicBezTo>
                    <a:cubicBezTo>
                      <a:pt x="114" y="43"/>
                      <a:pt x="114" y="43"/>
                      <a:pt x="114" y="43"/>
                    </a:cubicBezTo>
                    <a:cubicBezTo>
                      <a:pt x="122" y="41"/>
                      <a:pt x="122" y="41"/>
                      <a:pt x="122" y="41"/>
                    </a:cubicBezTo>
                    <a:cubicBezTo>
                      <a:pt x="123" y="39"/>
                      <a:pt x="123" y="39"/>
                      <a:pt x="123" y="39"/>
                    </a:cubicBezTo>
                    <a:cubicBezTo>
                      <a:pt x="125" y="40"/>
                      <a:pt x="125" y="40"/>
                      <a:pt x="125" y="40"/>
                    </a:cubicBezTo>
                    <a:cubicBezTo>
                      <a:pt x="125" y="49"/>
                      <a:pt x="125" y="49"/>
                      <a:pt x="125" y="49"/>
                    </a:cubicBezTo>
                    <a:cubicBezTo>
                      <a:pt x="130" y="53"/>
                      <a:pt x="130" y="53"/>
                      <a:pt x="130" y="53"/>
                    </a:cubicBezTo>
                    <a:cubicBezTo>
                      <a:pt x="131" y="54"/>
                      <a:pt x="131" y="54"/>
                      <a:pt x="131" y="54"/>
                    </a:cubicBezTo>
                    <a:cubicBezTo>
                      <a:pt x="133" y="55"/>
                      <a:pt x="133" y="55"/>
                      <a:pt x="133" y="55"/>
                    </a:cubicBezTo>
                    <a:cubicBezTo>
                      <a:pt x="131" y="56"/>
                      <a:pt x="131" y="56"/>
                      <a:pt x="131" y="56"/>
                    </a:cubicBezTo>
                    <a:cubicBezTo>
                      <a:pt x="130" y="55"/>
                      <a:pt x="130" y="55"/>
                      <a:pt x="130" y="55"/>
                    </a:cubicBezTo>
                    <a:cubicBezTo>
                      <a:pt x="125" y="55"/>
                      <a:pt x="125" y="55"/>
                      <a:pt x="125" y="55"/>
                    </a:cubicBezTo>
                    <a:cubicBezTo>
                      <a:pt x="122" y="56"/>
                      <a:pt x="122" y="56"/>
                      <a:pt x="122" y="56"/>
                    </a:cubicBezTo>
                    <a:cubicBezTo>
                      <a:pt x="119" y="55"/>
                      <a:pt x="119" y="55"/>
                      <a:pt x="119" y="55"/>
                    </a:cubicBezTo>
                    <a:cubicBezTo>
                      <a:pt x="115" y="57"/>
                      <a:pt x="115" y="57"/>
                      <a:pt x="115" y="57"/>
                    </a:cubicBezTo>
                    <a:cubicBezTo>
                      <a:pt x="113" y="57"/>
                      <a:pt x="113" y="57"/>
                      <a:pt x="113" y="57"/>
                    </a:cubicBezTo>
                    <a:cubicBezTo>
                      <a:pt x="105" y="56"/>
                      <a:pt x="105" y="56"/>
                      <a:pt x="105" y="56"/>
                    </a:cubicBezTo>
                    <a:cubicBezTo>
                      <a:pt x="98" y="56"/>
                      <a:pt x="98" y="56"/>
                      <a:pt x="98" y="56"/>
                    </a:cubicBezTo>
                    <a:cubicBezTo>
                      <a:pt x="95" y="59"/>
                      <a:pt x="95" y="59"/>
                      <a:pt x="95" y="59"/>
                    </a:cubicBezTo>
                    <a:cubicBezTo>
                      <a:pt x="86" y="60"/>
                      <a:pt x="86" y="60"/>
                      <a:pt x="86" y="60"/>
                    </a:cubicBezTo>
                    <a:cubicBezTo>
                      <a:pt x="83" y="61"/>
                      <a:pt x="83" y="61"/>
                      <a:pt x="83" y="61"/>
                    </a:cubicBezTo>
                    <a:cubicBezTo>
                      <a:pt x="81" y="65"/>
                      <a:pt x="81" y="65"/>
                      <a:pt x="81" y="65"/>
                    </a:cubicBezTo>
                    <a:cubicBezTo>
                      <a:pt x="80" y="67"/>
                      <a:pt x="80" y="67"/>
                      <a:pt x="80" y="67"/>
                    </a:cubicBezTo>
                    <a:cubicBezTo>
                      <a:pt x="79" y="67"/>
                      <a:pt x="79" y="67"/>
                      <a:pt x="79" y="67"/>
                    </a:cubicBezTo>
                    <a:cubicBezTo>
                      <a:pt x="77" y="64"/>
                      <a:pt x="77" y="64"/>
                      <a:pt x="77" y="64"/>
                    </a:cubicBezTo>
                    <a:cubicBezTo>
                      <a:pt x="71" y="68"/>
                      <a:pt x="71" y="68"/>
                      <a:pt x="71" y="68"/>
                    </a:cubicBezTo>
                    <a:cubicBezTo>
                      <a:pt x="70" y="68"/>
                      <a:pt x="70" y="68"/>
                      <a:pt x="70" y="68"/>
                    </a:cubicBezTo>
                    <a:cubicBezTo>
                      <a:pt x="69" y="66"/>
                      <a:pt x="69" y="66"/>
                      <a:pt x="69" y="66"/>
                    </a:cubicBezTo>
                    <a:cubicBezTo>
                      <a:pt x="68" y="66"/>
                      <a:pt x="68" y="66"/>
                      <a:pt x="68" y="66"/>
                    </a:cubicBezTo>
                    <a:cubicBezTo>
                      <a:pt x="65" y="72"/>
                      <a:pt x="65" y="72"/>
                      <a:pt x="65" y="72"/>
                    </a:cubicBezTo>
                    <a:cubicBezTo>
                      <a:pt x="64" y="77"/>
                      <a:pt x="64" y="77"/>
                      <a:pt x="64" y="77"/>
                    </a:cubicBezTo>
                    <a:cubicBezTo>
                      <a:pt x="60" y="86"/>
                      <a:pt x="60" y="86"/>
                      <a:pt x="60" y="86"/>
                    </a:cubicBezTo>
                    <a:cubicBezTo>
                      <a:pt x="58" y="85"/>
                      <a:pt x="58" y="85"/>
                      <a:pt x="58" y="85"/>
                    </a:cubicBezTo>
                    <a:cubicBezTo>
                      <a:pt x="56" y="84"/>
                      <a:pt x="56" y="84"/>
                      <a:pt x="56" y="84"/>
                    </a:cubicBezTo>
                    <a:cubicBezTo>
                      <a:pt x="54" y="70"/>
                      <a:pt x="54" y="70"/>
                      <a:pt x="54" y="70"/>
                    </a:cubicBezTo>
                    <a:cubicBezTo>
                      <a:pt x="49" y="68"/>
                      <a:pt x="49" y="68"/>
                      <a:pt x="49" y="68"/>
                    </a:cubicBezTo>
                    <a:cubicBezTo>
                      <a:pt x="46" y="65"/>
                      <a:pt x="46" y="65"/>
                      <a:pt x="46" y="65"/>
                    </a:cubicBezTo>
                    <a:cubicBezTo>
                      <a:pt x="30" y="61"/>
                      <a:pt x="30" y="61"/>
                      <a:pt x="30" y="61"/>
                    </a:cubicBezTo>
                    <a:cubicBezTo>
                      <a:pt x="26" y="60"/>
                      <a:pt x="26" y="60"/>
                      <a:pt x="26" y="60"/>
                    </a:cubicBezTo>
                    <a:cubicBezTo>
                      <a:pt x="15" y="57"/>
                      <a:pt x="15" y="57"/>
                      <a:pt x="15" y="57"/>
                    </a:cubicBezTo>
                    <a:cubicBezTo>
                      <a:pt x="5" y="55"/>
                      <a:pt x="5" y="55"/>
                      <a:pt x="5" y="55"/>
                    </a:cubicBezTo>
                    <a:lnTo>
                      <a:pt x="0" y="4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2" name="Freeform 28">
                <a:extLst/>
              </p:cNvPr>
              <p:cNvSpPr>
                <a:spLocks/>
              </p:cNvSpPr>
              <p:nvPr/>
            </p:nvSpPr>
            <p:spPr bwMode="auto">
              <a:xfrm>
                <a:off x="3219450" y="1454150"/>
                <a:ext cx="1409700" cy="1182688"/>
              </a:xfrm>
              <a:custGeom>
                <a:avLst/>
                <a:gdLst>
                  <a:gd name="T0" fmla="*/ 888 w 888"/>
                  <a:gd name="T1" fmla="*/ 99 h 745"/>
                  <a:gd name="T2" fmla="*/ 811 w 888"/>
                  <a:gd name="T3" fmla="*/ 94 h 745"/>
                  <a:gd name="T4" fmla="*/ 574 w 888"/>
                  <a:gd name="T5" fmla="*/ 72 h 745"/>
                  <a:gd name="T6" fmla="*/ 458 w 888"/>
                  <a:gd name="T7" fmla="*/ 55 h 745"/>
                  <a:gd name="T8" fmla="*/ 249 w 888"/>
                  <a:gd name="T9" fmla="*/ 22 h 745"/>
                  <a:gd name="T10" fmla="*/ 105 w 888"/>
                  <a:gd name="T11" fmla="*/ 0 h 745"/>
                  <a:gd name="T12" fmla="*/ 94 w 888"/>
                  <a:gd name="T13" fmla="*/ 83 h 745"/>
                  <a:gd name="T14" fmla="*/ 67 w 888"/>
                  <a:gd name="T15" fmla="*/ 265 h 745"/>
                  <a:gd name="T16" fmla="*/ 28 w 888"/>
                  <a:gd name="T17" fmla="*/ 485 h 745"/>
                  <a:gd name="T18" fmla="*/ 11 w 888"/>
                  <a:gd name="T19" fmla="*/ 563 h 745"/>
                  <a:gd name="T20" fmla="*/ 0 w 888"/>
                  <a:gd name="T21" fmla="*/ 651 h 745"/>
                  <a:gd name="T22" fmla="*/ 50 w 888"/>
                  <a:gd name="T23" fmla="*/ 657 h 745"/>
                  <a:gd name="T24" fmla="*/ 238 w 888"/>
                  <a:gd name="T25" fmla="*/ 679 h 745"/>
                  <a:gd name="T26" fmla="*/ 392 w 888"/>
                  <a:gd name="T27" fmla="*/ 695 h 745"/>
                  <a:gd name="T28" fmla="*/ 662 w 888"/>
                  <a:gd name="T29" fmla="*/ 723 h 745"/>
                  <a:gd name="T30" fmla="*/ 839 w 888"/>
                  <a:gd name="T31" fmla="*/ 745 h 745"/>
                  <a:gd name="T32" fmla="*/ 872 w 888"/>
                  <a:gd name="T33" fmla="*/ 419 h 745"/>
                  <a:gd name="T34" fmla="*/ 883 w 888"/>
                  <a:gd name="T35" fmla="*/ 232 h 745"/>
                  <a:gd name="T36" fmla="*/ 888 w 888"/>
                  <a:gd name="T37" fmla="*/ 99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8" h="745">
                    <a:moveTo>
                      <a:pt x="888" y="99"/>
                    </a:moveTo>
                    <a:lnTo>
                      <a:pt x="811" y="94"/>
                    </a:lnTo>
                    <a:lnTo>
                      <a:pt x="574" y="72"/>
                    </a:lnTo>
                    <a:lnTo>
                      <a:pt x="458" y="55"/>
                    </a:lnTo>
                    <a:lnTo>
                      <a:pt x="249" y="22"/>
                    </a:lnTo>
                    <a:lnTo>
                      <a:pt x="105" y="0"/>
                    </a:lnTo>
                    <a:lnTo>
                      <a:pt x="94" y="83"/>
                    </a:lnTo>
                    <a:lnTo>
                      <a:pt x="67" y="265"/>
                    </a:lnTo>
                    <a:lnTo>
                      <a:pt x="28" y="485"/>
                    </a:lnTo>
                    <a:lnTo>
                      <a:pt x="11" y="563"/>
                    </a:lnTo>
                    <a:lnTo>
                      <a:pt x="0" y="651"/>
                    </a:lnTo>
                    <a:lnTo>
                      <a:pt x="50" y="657"/>
                    </a:lnTo>
                    <a:lnTo>
                      <a:pt x="238" y="679"/>
                    </a:lnTo>
                    <a:lnTo>
                      <a:pt x="392" y="695"/>
                    </a:lnTo>
                    <a:lnTo>
                      <a:pt x="662" y="723"/>
                    </a:lnTo>
                    <a:lnTo>
                      <a:pt x="839" y="745"/>
                    </a:lnTo>
                    <a:lnTo>
                      <a:pt x="872" y="419"/>
                    </a:lnTo>
                    <a:lnTo>
                      <a:pt x="883" y="232"/>
                    </a:lnTo>
                    <a:lnTo>
                      <a:pt x="888" y="99"/>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3" name="Freeform 29">
                <a:extLst/>
              </p:cNvPr>
              <p:cNvSpPr>
                <a:spLocks/>
              </p:cNvSpPr>
              <p:nvPr/>
            </p:nvSpPr>
            <p:spPr bwMode="auto">
              <a:xfrm>
                <a:off x="2651125" y="288925"/>
                <a:ext cx="2074863" cy="1314450"/>
              </a:xfrm>
              <a:custGeom>
                <a:avLst/>
                <a:gdLst>
                  <a:gd name="T0" fmla="*/ 230 w 237"/>
                  <a:gd name="T1" fmla="*/ 122 h 150"/>
                  <a:gd name="T2" fmla="*/ 230 w 237"/>
                  <a:gd name="T3" fmla="*/ 107 h 150"/>
                  <a:gd name="T4" fmla="*/ 233 w 237"/>
                  <a:gd name="T5" fmla="*/ 74 h 150"/>
                  <a:gd name="T6" fmla="*/ 235 w 237"/>
                  <a:gd name="T7" fmla="*/ 54 h 150"/>
                  <a:gd name="T8" fmla="*/ 237 w 237"/>
                  <a:gd name="T9" fmla="*/ 34 h 150"/>
                  <a:gd name="T10" fmla="*/ 196 w 237"/>
                  <a:gd name="T11" fmla="*/ 31 h 150"/>
                  <a:gd name="T12" fmla="*/ 157 w 237"/>
                  <a:gd name="T13" fmla="*/ 26 h 150"/>
                  <a:gd name="T14" fmla="*/ 118 w 237"/>
                  <a:gd name="T15" fmla="*/ 21 h 150"/>
                  <a:gd name="T16" fmla="*/ 74 w 237"/>
                  <a:gd name="T17" fmla="*/ 14 h 150"/>
                  <a:gd name="T18" fmla="*/ 50 w 237"/>
                  <a:gd name="T19" fmla="*/ 9 h 150"/>
                  <a:gd name="T20" fmla="*/ 6 w 237"/>
                  <a:gd name="T21" fmla="*/ 0 h 150"/>
                  <a:gd name="T22" fmla="*/ 0 w 237"/>
                  <a:gd name="T23" fmla="*/ 28 h 150"/>
                  <a:gd name="T24" fmla="*/ 5 w 237"/>
                  <a:gd name="T25" fmla="*/ 38 h 150"/>
                  <a:gd name="T26" fmla="*/ 3 w 237"/>
                  <a:gd name="T27" fmla="*/ 44 h 150"/>
                  <a:gd name="T28" fmla="*/ 5 w 237"/>
                  <a:gd name="T29" fmla="*/ 50 h 150"/>
                  <a:gd name="T30" fmla="*/ 10 w 237"/>
                  <a:gd name="T31" fmla="*/ 52 h 150"/>
                  <a:gd name="T32" fmla="*/ 16 w 237"/>
                  <a:gd name="T33" fmla="*/ 67 h 150"/>
                  <a:gd name="T34" fmla="*/ 20 w 237"/>
                  <a:gd name="T35" fmla="*/ 71 h 150"/>
                  <a:gd name="T36" fmla="*/ 20 w 237"/>
                  <a:gd name="T37" fmla="*/ 72 h 150"/>
                  <a:gd name="T38" fmla="*/ 25 w 237"/>
                  <a:gd name="T39" fmla="*/ 74 h 150"/>
                  <a:gd name="T40" fmla="*/ 25 w 237"/>
                  <a:gd name="T41" fmla="*/ 77 h 150"/>
                  <a:gd name="T42" fmla="*/ 16 w 237"/>
                  <a:gd name="T43" fmla="*/ 100 h 150"/>
                  <a:gd name="T44" fmla="*/ 16 w 237"/>
                  <a:gd name="T45" fmla="*/ 103 h 150"/>
                  <a:gd name="T46" fmla="*/ 19 w 237"/>
                  <a:gd name="T47" fmla="*/ 108 h 150"/>
                  <a:gd name="T48" fmla="*/ 20 w 237"/>
                  <a:gd name="T49" fmla="*/ 108 h 150"/>
                  <a:gd name="T50" fmla="*/ 27 w 237"/>
                  <a:gd name="T51" fmla="*/ 104 h 150"/>
                  <a:gd name="T52" fmla="*/ 28 w 237"/>
                  <a:gd name="T53" fmla="*/ 102 h 150"/>
                  <a:gd name="T54" fmla="*/ 30 w 237"/>
                  <a:gd name="T55" fmla="*/ 103 h 150"/>
                  <a:gd name="T56" fmla="*/ 30 w 237"/>
                  <a:gd name="T57" fmla="*/ 110 h 150"/>
                  <a:gd name="T58" fmla="*/ 33 w 237"/>
                  <a:gd name="T59" fmla="*/ 127 h 150"/>
                  <a:gd name="T60" fmla="*/ 37 w 237"/>
                  <a:gd name="T61" fmla="*/ 130 h 150"/>
                  <a:gd name="T62" fmla="*/ 38 w 237"/>
                  <a:gd name="T63" fmla="*/ 131 h 150"/>
                  <a:gd name="T64" fmla="*/ 41 w 237"/>
                  <a:gd name="T65" fmla="*/ 134 h 150"/>
                  <a:gd name="T66" fmla="*/ 40 w 237"/>
                  <a:gd name="T67" fmla="*/ 139 h 150"/>
                  <a:gd name="T68" fmla="*/ 41 w 237"/>
                  <a:gd name="T69" fmla="*/ 143 h 150"/>
                  <a:gd name="T70" fmla="*/ 43 w 237"/>
                  <a:gd name="T71" fmla="*/ 145 h 150"/>
                  <a:gd name="T72" fmla="*/ 46 w 237"/>
                  <a:gd name="T73" fmla="*/ 142 h 150"/>
                  <a:gd name="T74" fmla="*/ 49 w 237"/>
                  <a:gd name="T75" fmla="*/ 142 h 150"/>
                  <a:gd name="T76" fmla="*/ 54 w 237"/>
                  <a:gd name="T77" fmla="*/ 144 h 150"/>
                  <a:gd name="T78" fmla="*/ 57 w 237"/>
                  <a:gd name="T79" fmla="*/ 143 h 150"/>
                  <a:gd name="T80" fmla="*/ 62 w 237"/>
                  <a:gd name="T81" fmla="*/ 143 h 150"/>
                  <a:gd name="T82" fmla="*/ 67 w 237"/>
                  <a:gd name="T83" fmla="*/ 145 h 150"/>
                  <a:gd name="T84" fmla="*/ 71 w 237"/>
                  <a:gd name="T85" fmla="*/ 144 h 150"/>
                  <a:gd name="T86" fmla="*/ 72 w 237"/>
                  <a:gd name="T87" fmla="*/ 140 h 150"/>
                  <a:gd name="T88" fmla="*/ 76 w 237"/>
                  <a:gd name="T89" fmla="*/ 139 h 150"/>
                  <a:gd name="T90" fmla="*/ 77 w 237"/>
                  <a:gd name="T91" fmla="*/ 141 h 150"/>
                  <a:gd name="T92" fmla="*/ 78 w 237"/>
                  <a:gd name="T93" fmla="*/ 145 h 150"/>
                  <a:gd name="T94" fmla="*/ 80 w 237"/>
                  <a:gd name="T95" fmla="*/ 147 h 150"/>
                  <a:gd name="T96" fmla="*/ 82 w 237"/>
                  <a:gd name="T97" fmla="*/ 132 h 150"/>
                  <a:gd name="T98" fmla="*/ 110 w 237"/>
                  <a:gd name="T99" fmla="*/ 136 h 150"/>
                  <a:gd name="T100" fmla="*/ 148 w 237"/>
                  <a:gd name="T101" fmla="*/ 141 h 150"/>
                  <a:gd name="T102" fmla="*/ 170 w 237"/>
                  <a:gd name="T103" fmla="*/ 143 h 150"/>
                  <a:gd name="T104" fmla="*/ 212 w 237"/>
                  <a:gd name="T105" fmla="*/ 148 h 150"/>
                  <a:gd name="T106" fmla="*/ 226 w 237"/>
                  <a:gd name="T107" fmla="*/ 150 h 150"/>
                  <a:gd name="T108" fmla="*/ 228 w 237"/>
                  <a:gd name="T109" fmla="*/ 129 h 150"/>
                  <a:gd name="T110" fmla="*/ 230 w 237"/>
                  <a:gd name="T111" fmla="*/ 12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7" h="150">
                    <a:moveTo>
                      <a:pt x="230" y="122"/>
                    </a:moveTo>
                    <a:cubicBezTo>
                      <a:pt x="230" y="107"/>
                      <a:pt x="230" y="107"/>
                      <a:pt x="230" y="107"/>
                    </a:cubicBezTo>
                    <a:cubicBezTo>
                      <a:pt x="233" y="74"/>
                      <a:pt x="233" y="74"/>
                      <a:pt x="233" y="74"/>
                    </a:cubicBezTo>
                    <a:cubicBezTo>
                      <a:pt x="234" y="68"/>
                      <a:pt x="235" y="63"/>
                      <a:pt x="235" y="54"/>
                    </a:cubicBezTo>
                    <a:cubicBezTo>
                      <a:pt x="237" y="34"/>
                      <a:pt x="237" y="34"/>
                      <a:pt x="237" y="34"/>
                    </a:cubicBezTo>
                    <a:cubicBezTo>
                      <a:pt x="196" y="31"/>
                      <a:pt x="196" y="31"/>
                      <a:pt x="196" y="31"/>
                    </a:cubicBezTo>
                    <a:cubicBezTo>
                      <a:pt x="157" y="26"/>
                      <a:pt x="157" y="26"/>
                      <a:pt x="157" y="26"/>
                    </a:cubicBezTo>
                    <a:cubicBezTo>
                      <a:pt x="118" y="21"/>
                      <a:pt x="118" y="21"/>
                      <a:pt x="118" y="21"/>
                    </a:cubicBezTo>
                    <a:cubicBezTo>
                      <a:pt x="74" y="14"/>
                      <a:pt x="74" y="14"/>
                      <a:pt x="74" y="14"/>
                    </a:cubicBezTo>
                    <a:cubicBezTo>
                      <a:pt x="50" y="9"/>
                      <a:pt x="50" y="9"/>
                      <a:pt x="50" y="9"/>
                    </a:cubicBezTo>
                    <a:cubicBezTo>
                      <a:pt x="6" y="0"/>
                      <a:pt x="6" y="0"/>
                      <a:pt x="6" y="0"/>
                    </a:cubicBezTo>
                    <a:cubicBezTo>
                      <a:pt x="0" y="28"/>
                      <a:pt x="0" y="28"/>
                      <a:pt x="0" y="28"/>
                    </a:cubicBezTo>
                    <a:cubicBezTo>
                      <a:pt x="5" y="38"/>
                      <a:pt x="5" y="38"/>
                      <a:pt x="5" y="38"/>
                    </a:cubicBezTo>
                    <a:cubicBezTo>
                      <a:pt x="3" y="44"/>
                      <a:pt x="3" y="44"/>
                      <a:pt x="3" y="44"/>
                    </a:cubicBezTo>
                    <a:cubicBezTo>
                      <a:pt x="5" y="50"/>
                      <a:pt x="5" y="50"/>
                      <a:pt x="5" y="50"/>
                    </a:cubicBezTo>
                    <a:cubicBezTo>
                      <a:pt x="10" y="52"/>
                      <a:pt x="10" y="52"/>
                      <a:pt x="10" y="52"/>
                    </a:cubicBezTo>
                    <a:cubicBezTo>
                      <a:pt x="16" y="67"/>
                      <a:pt x="16" y="67"/>
                      <a:pt x="16" y="67"/>
                    </a:cubicBezTo>
                    <a:cubicBezTo>
                      <a:pt x="20" y="71"/>
                      <a:pt x="20" y="71"/>
                      <a:pt x="20" y="71"/>
                    </a:cubicBezTo>
                    <a:cubicBezTo>
                      <a:pt x="20" y="72"/>
                      <a:pt x="20" y="72"/>
                      <a:pt x="20" y="72"/>
                    </a:cubicBezTo>
                    <a:cubicBezTo>
                      <a:pt x="25" y="74"/>
                      <a:pt x="25" y="74"/>
                      <a:pt x="25" y="74"/>
                    </a:cubicBezTo>
                    <a:cubicBezTo>
                      <a:pt x="25" y="77"/>
                      <a:pt x="25" y="77"/>
                      <a:pt x="25" y="77"/>
                    </a:cubicBezTo>
                    <a:cubicBezTo>
                      <a:pt x="16" y="100"/>
                      <a:pt x="16" y="100"/>
                      <a:pt x="16" y="100"/>
                    </a:cubicBezTo>
                    <a:cubicBezTo>
                      <a:pt x="16" y="103"/>
                      <a:pt x="16" y="103"/>
                      <a:pt x="16" y="103"/>
                    </a:cubicBezTo>
                    <a:cubicBezTo>
                      <a:pt x="19" y="108"/>
                      <a:pt x="19" y="108"/>
                      <a:pt x="19" y="108"/>
                    </a:cubicBezTo>
                    <a:cubicBezTo>
                      <a:pt x="20" y="108"/>
                      <a:pt x="20" y="108"/>
                      <a:pt x="20" y="108"/>
                    </a:cubicBezTo>
                    <a:cubicBezTo>
                      <a:pt x="27" y="104"/>
                      <a:pt x="27" y="104"/>
                      <a:pt x="27" y="104"/>
                    </a:cubicBezTo>
                    <a:cubicBezTo>
                      <a:pt x="28" y="102"/>
                      <a:pt x="28" y="102"/>
                      <a:pt x="28" y="102"/>
                    </a:cubicBezTo>
                    <a:cubicBezTo>
                      <a:pt x="30" y="103"/>
                      <a:pt x="30" y="103"/>
                      <a:pt x="30" y="103"/>
                    </a:cubicBezTo>
                    <a:cubicBezTo>
                      <a:pt x="30" y="110"/>
                      <a:pt x="30" y="110"/>
                      <a:pt x="30" y="110"/>
                    </a:cubicBezTo>
                    <a:cubicBezTo>
                      <a:pt x="33" y="127"/>
                      <a:pt x="33" y="127"/>
                      <a:pt x="33" y="127"/>
                    </a:cubicBezTo>
                    <a:cubicBezTo>
                      <a:pt x="37" y="130"/>
                      <a:pt x="37" y="130"/>
                      <a:pt x="37" y="130"/>
                    </a:cubicBezTo>
                    <a:cubicBezTo>
                      <a:pt x="38" y="131"/>
                      <a:pt x="38" y="131"/>
                      <a:pt x="38" y="131"/>
                    </a:cubicBezTo>
                    <a:cubicBezTo>
                      <a:pt x="41" y="134"/>
                      <a:pt x="41" y="134"/>
                      <a:pt x="41" y="134"/>
                    </a:cubicBezTo>
                    <a:cubicBezTo>
                      <a:pt x="40" y="139"/>
                      <a:pt x="40" y="139"/>
                      <a:pt x="40" y="139"/>
                    </a:cubicBezTo>
                    <a:cubicBezTo>
                      <a:pt x="41" y="143"/>
                      <a:pt x="41" y="143"/>
                      <a:pt x="41" y="143"/>
                    </a:cubicBezTo>
                    <a:cubicBezTo>
                      <a:pt x="43" y="145"/>
                      <a:pt x="43" y="145"/>
                      <a:pt x="43" y="145"/>
                    </a:cubicBezTo>
                    <a:cubicBezTo>
                      <a:pt x="46" y="142"/>
                      <a:pt x="46" y="142"/>
                      <a:pt x="46" y="142"/>
                    </a:cubicBezTo>
                    <a:cubicBezTo>
                      <a:pt x="49" y="142"/>
                      <a:pt x="49" y="142"/>
                      <a:pt x="49" y="142"/>
                    </a:cubicBezTo>
                    <a:cubicBezTo>
                      <a:pt x="54" y="144"/>
                      <a:pt x="54" y="144"/>
                      <a:pt x="54" y="144"/>
                    </a:cubicBezTo>
                    <a:cubicBezTo>
                      <a:pt x="57" y="143"/>
                      <a:pt x="57" y="143"/>
                      <a:pt x="57" y="143"/>
                    </a:cubicBezTo>
                    <a:cubicBezTo>
                      <a:pt x="62" y="143"/>
                      <a:pt x="62" y="143"/>
                      <a:pt x="62" y="143"/>
                    </a:cubicBezTo>
                    <a:cubicBezTo>
                      <a:pt x="67" y="145"/>
                      <a:pt x="67" y="145"/>
                      <a:pt x="67" y="145"/>
                    </a:cubicBezTo>
                    <a:cubicBezTo>
                      <a:pt x="71" y="144"/>
                      <a:pt x="71" y="144"/>
                      <a:pt x="71" y="144"/>
                    </a:cubicBezTo>
                    <a:cubicBezTo>
                      <a:pt x="72" y="140"/>
                      <a:pt x="72" y="140"/>
                      <a:pt x="72" y="140"/>
                    </a:cubicBezTo>
                    <a:cubicBezTo>
                      <a:pt x="76" y="139"/>
                      <a:pt x="76" y="139"/>
                      <a:pt x="76" y="139"/>
                    </a:cubicBezTo>
                    <a:cubicBezTo>
                      <a:pt x="77" y="141"/>
                      <a:pt x="77" y="141"/>
                      <a:pt x="77" y="141"/>
                    </a:cubicBezTo>
                    <a:cubicBezTo>
                      <a:pt x="78" y="145"/>
                      <a:pt x="78" y="145"/>
                      <a:pt x="78" y="145"/>
                    </a:cubicBezTo>
                    <a:cubicBezTo>
                      <a:pt x="80" y="147"/>
                      <a:pt x="80" y="147"/>
                      <a:pt x="80" y="147"/>
                    </a:cubicBezTo>
                    <a:cubicBezTo>
                      <a:pt x="82" y="132"/>
                      <a:pt x="82" y="132"/>
                      <a:pt x="82" y="132"/>
                    </a:cubicBezTo>
                    <a:cubicBezTo>
                      <a:pt x="110" y="136"/>
                      <a:pt x="110" y="136"/>
                      <a:pt x="110" y="136"/>
                    </a:cubicBezTo>
                    <a:cubicBezTo>
                      <a:pt x="148" y="141"/>
                      <a:pt x="148" y="141"/>
                      <a:pt x="148" y="141"/>
                    </a:cubicBezTo>
                    <a:cubicBezTo>
                      <a:pt x="170" y="143"/>
                      <a:pt x="170" y="143"/>
                      <a:pt x="170" y="143"/>
                    </a:cubicBezTo>
                    <a:cubicBezTo>
                      <a:pt x="212" y="148"/>
                      <a:pt x="212" y="148"/>
                      <a:pt x="212" y="148"/>
                    </a:cubicBezTo>
                    <a:cubicBezTo>
                      <a:pt x="226" y="150"/>
                      <a:pt x="226" y="150"/>
                      <a:pt x="226" y="150"/>
                    </a:cubicBezTo>
                    <a:cubicBezTo>
                      <a:pt x="228" y="129"/>
                      <a:pt x="228" y="129"/>
                      <a:pt x="228" y="129"/>
                    </a:cubicBezTo>
                    <a:lnTo>
                      <a:pt x="230" y="12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4" name="Freeform 30">
                <a:extLst/>
              </p:cNvPr>
              <p:cNvSpPr>
                <a:spLocks/>
              </p:cNvSpPr>
              <p:nvPr/>
            </p:nvSpPr>
            <p:spPr bwMode="auto">
              <a:xfrm>
                <a:off x="2125663" y="254000"/>
                <a:ext cx="1225550" cy="1952625"/>
              </a:xfrm>
              <a:custGeom>
                <a:avLst/>
                <a:gdLst>
                  <a:gd name="T0" fmla="*/ 2 w 140"/>
                  <a:gd name="T1" fmla="*/ 199 h 223"/>
                  <a:gd name="T2" fmla="*/ 14 w 140"/>
                  <a:gd name="T3" fmla="*/ 152 h 223"/>
                  <a:gd name="T4" fmla="*/ 19 w 140"/>
                  <a:gd name="T5" fmla="*/ 138 h 223"/>
                  <a:gd name="T6" fmla="*/ 14 w 140"/>
                  <a:gd name="T7" fmla="*/ 135 h 223"/>
                  <a:gd name="T8" fmla="*/ 13 w 140"/>
                  <a:gd name="T9" fmla="*/ 132 h 223"/>
                  <a:gd name="T10" fmla="*/ 20 w 140"/>
                  <a:gd name="T11" fmla="*/ 121 h 223"/>
                  <a:gd name="T12" fmla="*/ 24 w 140"/>
                  <a:gd name="T13" fmla="*/ 119 h 223"/>
                  <a:gd name="T14" fmla="*/ 26 w 140"/>
                  <a:gd name="T15" fmla="*/ 114 h 223"/>
                  <a:gd name="T16" fmla="*/ 36 w 140"/>
                  <a:gd name="T17" fmla="*/ 100 h 223"/>
                  <a:gd name="T18" fmla="*/ 32 w 140"/>
                  <a:gd name="T19" fmla="*/ 92 h 223"/>
                  <a:gd name="T20" fmla="*/ 31 w 140"/>
                  <a:gd name="T21" fmla="*/ 73 h 223"/>
                  <a:gd name="T22" fmla="*/ 41 w 140"/>
                  <a:gd name="T23" fmla="*/ 23 h 223"/>
                  <a:gd name="T24" fmla="*/ 47 w 140"/>
                  <a:gd name="T25" fmla="*/ 0 h 223"/>
                  <a:gd name="T26" fmla="*/ 59 w 140"/>
                  <a:gd name="T27" fmla="*/ 32 h 223"/>
                  <a:gd name="T28" fmla="*/ 62 w 140"/>
                  <a:gd name="T29" fmla="*/ 49 h 223"/>
                  <a:gd name="T30" fmla="*/ 69 w 140"/>
                  <a:gd name="T31" fmla="*/ 57 h 223"/>
                  <a:gd name="T32" fmla="*/ 78 w 140"/>
                  <a:gd name="T33" fmla="*/ 75 h 223"/>
                  <a:gd name="T34" fmla="*/ 84 w 140"/>
                  <a:gd name="T35" fmla="*/ 78 h 223"/>
                  <a:gd name="T36" fmla="*/ 75 w 140"/>
                  <a:gd name="T37" fmla="*/ 104 h 223"/>
                  <a:gd name="T38" fmla="*/ 79 w 140"/>
                  <a:gd name="T39" fmla="*/ 112 h 223"/>
                  <a:gd name="T40" fmla="*/ 88 w 140"/>
                  <a:gd name="T41" fmla="*/ 108 h 223"/>
                  <a:gd name="T42" fmla="*/ 89 w 140"/>
                  <a:gd name="T43" fmla="*/ 108 h 223"/>
                  <a:gd name="T44" fmla="*/ 92 w 140"/>
                  <a:gd name="T45" fmla="*/ 131 h 223"/>
                  <a:gd name="T46" fmla="*/ 98 w 140"/>
                  <a:gd name="T47" fmla="*/ 136 h 223"/>
                  <a:gd name="T48" fmla="*/ 99 w 140"/>
                  <a:gd name="T49" fmla="*/ 143 h 223"/>
                  <a:gd name="T50" fmla="*/ 103 w 140"/>
                  <a:gd name="T51" fmla="*/ 149 h 223"/>
                  <a:gd name="T52" fmla="*/ 109 w 140"/>
                  <a:gd name="T53" fmla="*/ 146 h 223"/>
                  <a:gd name="T54" fmla="*/ 117 w 140"/>
                  <a:gd name="T55" fmla="*/ 148 h 223"/>
                  <a:gd name="T56" fmla="*/ 127 w 140"/>
                  <a:gd name="T57" fmla="*/ 150 h 223"/>
                  <a:gd name="T58" fmla="*/ 132 w 140"/>
                  <a:gd name="T59" fmla="*/ 146 h 223"/>
                  <a:gd name="T60" fmla="*/ 137 w 140"/>
                  <a:gd name="T61" fmla="*/ 146 h 223"/>
                  <a:gd name="T62" fmla="*/ 140 w 140"/>
                  <a:gd name="T63" fmla="*/ 152 h 223"/>
                  <a:gd name="T64" fmla="*/ 129 w 140"/>
                  <a:gd name="T65" fmla="*/ 223 h 223"/>
                  <a:gd name="T66" fmla="*/ 112 w 140"/>
                  <a:gd name="T67" fmla="*/ 221 h 223"/>
                  <a:gd name="T68" fmla="*/ 83 w 140"/>
                  <a:gd name="T69" fmla="*/ 215 h 223"/>
                  <a:gd name="T70" fmla="*/ 55 w 140"/>
                  <a:gd name="T71" fmla="*/ 209 h 223"/>
                  <a:gd name="T72" fmla="*/ 30 w 140"/>
                  <a:gd name="T73" fmla="*/ 20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0" h="223">
                    <a:moveTo>
                      <a:pt x="30" y="205"/>
                    </a:moveTo>
                    <a:cubicBezTo>
                      <a:pt x="0" y="199"/>
                      <a:pt x="11" y="201"/>
                      <a:pt x="2" y="199"/>
                    </a:cubicBezTo>
                    <a:cubicBezTo>
                      <a:pt x="8" y="175"/>
                      <a:pt x="8" y="175"/>
                      <a:pt x="8" y="175"/>
                    </a:cubicBezTo>
                    <a:cubicBezTo>
                      <a:pt x="14" y="152"/>
                      <a:pt x="14" y="152"/>
                      <a:pt x="14" y="152"/>
                    </a:cubicBezTo>
                    <a:cubicBezTo>
                      <a:pt x="15" y="146"/>
                      <a:pt x="15" y="146"/>
                      <a:pt x="15" y="146"/>
                    </a:cubicBezTo>
                    <a:cubicBezTo>
                      <a:pt x="19" y="138"/>
                      <a:pt x="19" y="138"/>
                      <a:pt x="19" y="138"/>
                    </a:cubicBezTo>
                    <a:cubicBezTo>
                      <a:pt x="17" y="135"/>
                      <a:pt x="17" y="135"/>
                      <a:pt x="17" y="135"/>
                    </a:cubicBezTo>
                    <a:cubicBezTo>
                      <a:pt x="14" y="135"/>
                      <a:pt x="14" y="135"/>
                      <a:pt x="14" y="135"/>
                    </a:cubicBezTo>
                    <a:cubicBezTo>
                      <a:pt x="13" y="134"/>
                      <a:pt x="13" y="134"/>
                      <a:pt x="13" y="134"/>
                    </a:cubicBezTo>
                    <a:cubicBezTo>
                      <a:pt x="13" y="132"/>
                      <a:pt x="13" y="132"/>
                      <a:pt x="13" y="132"/>
                    </a:cubicBezTo>
                    <a:cubicBezTo>
                      <a:pt x="14" y="128"/>
                      <a:pt x="14" y="128"/>
                      <a:pt x="14" y="128"/>
                    </a:cubicBezTo>
                    <a:cubicBezTo>
                      <a:pt x="20" y="121"/>
                      <a:pt x="20" y="121"/>
                      <a:pt x="20" y="121"/>
                    </a:cubicBezTo>
                    <a:cubicBezTo>
                      <a:pt x="22" y="120"/>
                      <a:pt x="22" y="120"/>
                      <a:pt x="22" y="120"/>
                    </a:cubicBezTo>
                    <a:cubicBezTo>
                      <a:pt x="24" y="119"/>
                      <a:pt x="24" y="119"/>
                      <a:pt x="24" y="119"/>
                    </a:cubicBezTo>
                    <a:cubicBezTo>
                      <a:pt x="24" y="115"/>
                      <a:pt x="24" y="115"/>
                      <a:pt x="24" y="115"/>
                    </a:cubicBezTo>
                    <a:cubicBezTo>
                      <a:pt x="26" y="114"/>
                      <a:pt x="26" y="114"/>
                      <a:pt x="26" y="114"/>
                    </a:cubicBezTo>
                    <a:cubicBezTo>
                      <a:pt x="31" y="106"/>
                      <a:pt x="31" y="106"/>
                      <a:pt x="31" y="106"/>
                    </a:cubicBezTo>
                    <a:cubicBezTo>
                      <a:pt x="36" y="100"/>
                      <a:pt x="36" y="100"/>
                      <a:pt x="36" y="100"/>
                    </a:cubicBezTo>
                    <a:cubicBezTo>
                      <a:pt x="36" y="95"/>
                      <a:pt x="36" y="95"/>
                      <a:pt x="36" y="95"/>
                    </a:cubicBezTo>
                    <a:cubicBezTo>
                      <a:pt x="32" y="92"/>
                      <a:pt x="32" y="92"/>
                      <a:pt x="32" y="92"/>
                    </a:cubicBezTo>
                    <a:cubicBezTo>
                      <a:pt x="30" y="86"/>
                      <a:pt x="30" y="86"/>
                      <a:pt x="30" y="86"/>
                    </a:cubicBezTo>
                    <a:cubicBezTo>
                      <a:pt x="31" y="73"/>
                      <a:pt x="31" y="73"/>
                      <a:pt x="31" y="73"/>
                    </a:cubicBezTo>
                    <a:cubicBezTo>
                      <a:pt x="35" y="51"/>
                      <a:pt x="35" y="51"/>
                      <a:pt x="35" y="51"/>
                    </a:cubicBezTo>
                    <a:cubicBezTo>
                      <a:pt x="41" y="23"/>
                      <a:pt x="41" y="23"/>
                      <a:pt x="41" y="23"/>
                    </a:cubicBezTo>
                    <a:cubicBezTo>
                      <a:pt x="46" y="5"/>
                      <a:pt x="46" y="5"/>
                      <a:pt x="46" y="5"/>
                    </a:cubicBezTo>
                    <a:cubicBezTo>
                      <a:pt x="47" y="0"/>
                      <a:pt x="47" y="0"/>
                      <a:pt x="47" y="0"/>
                    </a:cubicBezTo>
                    <a:cubicBezTo>
                      <a:pt x="65" y="4"/>
                      <a:pt x="65" y="4"/>
                      <a:pt x="65" y="4"/>
                    </a:cubicBezTo>
                    <a:cubicBezTo>
                      <a:pt x="59" y="32"/>
                      <a:pt x="59" y="32"/>
                      <a:pt x="59" y="32"/>
                    </a:cubicBezTo>
                    <a:cubicBezTo>
                      <a:pt x="63" y="42"/>
                      <a:pt x="63" y="42"/>
                      <a:pt x="63" y="42"/>
                    </a:cubicBezTo>
                    <a:cubicBezTo>
                      <a:pt x="62" y="49"/>
                      <a:pt x="62" y="49"/>
                      <a:pt x="62" y="49"/>
                    </a:cubicBezTo>
                    <a:cubicBezTo>
                      <a:pt x="64" y="55"/>
                      <a:pt x="64" y="55"/>
                      <a:pt x="64" y="55"/>
                    </a:cubicBezTo>
                    <a:cubicBezTo>
                      <a:pt x="69" y="57"/>
                      <a:pt x="69" y="57"/>
                      <a:pt x="69" y="57"/>
                    </a:cubicBezTo>
                    <a:cubicBezTo>
                      <a:pt x="75" y="70"/>
                      <a:pt x="75" y="70"/>
                      <a:pt x="75" y="70"/>
                    </a:cubicBezTo>
                    <a:cubicBezTo>
                      <a:pt x="78" y="75"/>
                      <a:pt x="78" y="75"/>
                      <a:pt x="78" y="75"/>
                    </a:cubicBezTo>
                    <a:cubicBezTo>
                      <a:pt x="79" y="77"/>
                      <a:pt x="79" y="77"/>
                      <a:pt x="79" y="77"/>
                    </a:cubicBezTo>
                    <a:cubicBezTo>
                      <a:pt x="84" y="78"/>
                      <a:pt x="84" y="78"/>
                      <a:pt x="84" y="78"/>
                    </a:cubicBezTo>
                    <a:cubicBezTo>
                      <a:pt x="84" y="82"/>
                      <a:pt x="84" y="82"/>
                      <a:pt x="84" y="82"/>
                    </a:cubicBezTo>
                    <a:cubicBezTo>
                      <a:pt x="75" y="104"/>
                      <a:pt x="75" y="104"/>
                      <a:pt x="75" y="104"/>
                    </a:cubicBezTo>
                    <a:cubicBezTo>
                      <a:pt x="75" y="108"/>
                      <a:pt x="75" y="108"/>
                      <a:pt x="75" y="108"/>
                    </a:cubicBezTo>
                    <a:cubicBezTo>
                      <a:pt x="79" y="112"/>
                      <a:pt x="79" y="112"/>
                      <a:pt x="79" y="112"/>
                    </a:cubicBezTo>
                    <a:cubicBezTo>
                      <a:pt x="81" y="113"/>
                      <a:pt x="81" y="113"/>
                      <a:pt x="81" y="113"/>
                    </a:cubicBezTo>
                    <a:cubicBezTo>
                      <a:pt x="88" y="108"/>
                      <a:pt x="88" y="108"/>
                      <a:pt x="88" y="108"/>
                    </a:cubicBezTo>
                    <a:cubicBezTo>
                      <a:pt x="88" y="107"/>
                      <a:pt x="88" y="107"/>
                      <a:pt x="88" y="107"/>
                    </a:cubicBezTo>
                    <a:cubicBezTo>
                      <a:pt x="89" y="108"/>
                      <a:pt x="89" y="108"/>
                      <a:pt x="89" y="108"/>
                    </a:cubicBezTo>
                    <a:cubicBezTo>
                      <a:pt x="89" y="114"/>
                      <a:pt x="89" y="114"/>
                      <a:pt x="89" y="114"/>
                    </a:cubicBezTo>
                    <a:cubicBezTo>
                      <a:pt x="92" y="131"/>
                      <a:pt x="92" y="131"/>
                      <a:pt x="92" y="131"/>
                    </a:cubicBezTo>
                    <a:cubicBezTo>
                      <a:pt x="97" y="135"/>
                      <a:pt x="97" y="135"/>
                      <a:pt x="97" y="135"/>
                    </a:cubicBezTo>
                    <a:cubicBezTo>
                      <a:pt x="98" y="136"/>
                      <a:pt x="98" y="136"/>
                      <a:pt x="98" y="136"/>
                    </a:cubicBezTo>
                    <a:cubicBezTo>
                      <a:pt x="100" y="139"/>
                      <a:pt x="100" y="139"/>
                      <a:pt x="100" y="139"/>
                    </a:cubicBezTo>
                    <a:cubicBezTo>
                      <a:pt x="99" y="143"/>
                      <a:pt x="99" y="143"/>
                      <a:pt x="99" y="143"/>
                    </a:cubicBezTo>
                    <a:cubicBezTo>
                      <a:pt x="100" y="148"/>
                      <a:pt x="100" y="148"/>
                      <a:pt x="100" y="148"/>
                    </a:cubicBezTo>
                    <a:cubicBezTo>
                      <a:pt x="103" y="149"/>
                      <a:pt x="103" y="149"/>
                      <a:pt x="103" y="149"/>
                    </a:cubicBezTo>
                    <a:cubicBezTo>
                      <a:pt x="106" y="147"/>
                      <a:pt x="106" y="147"/>
                      <a:pt x="106" y="147"/>
                    </a:cubicBezTo>
                    <a:cubicBezTo>
                      <a:pt x="109" y="146"/>
                      <a:pt x="109" y="146"/>
                      <a:pt x="109" y="146"/>
                    </a:cubicBezTo>
                    <a:cubicBezTo>
                      <a:pt x="114" y="148"/>
                      <a:pt x="114" y="148"/>
                      <a:pt x="114" y="148"/>
                    </a:cubicBezTo>
                    <a:cubicBezTo>
                      <a:pt x="117" y="148"/>
                      <a:pt x="117" y="148"/>
                      <a:pt x="117" y="148"/>
                    </a:cubicBezTo>
                    <a:cubicBezTo>
                      <a:pt x="122" y="147"/>
                      <a:pt x="122" y="147"/>
                      <a:pt x="122" y="147"/>
                    </a:cubicBezTo>
                    <a:cubicBezTo>
                      <a:pt x="127" y="150"/>
                      <a:pt x="127" y="150"/>
                      <a:pt x="127" y="150"/>
                    </a:cubicBezTo>
                    <a:cubicBezTo>
                      <a:pt x="131" y="149"/>
                      <a:pt x="131" y="149"/>
                      <a:pt x="131" y="149"/>
                    </a:cubicBezTo>
                    <a:cubicBezTo>
                      <a:pt x="132" y="146"/>
                      <a:pt x="132" y="146"/>
                      <a:pt x="132" y="146"/>
                    </a:cubicBezTo>
                    <a:cubicBezTo>
                      <a:pt x="136" y="144"/>
                      <a:pt x="136" y="144"/>
                      <a:pt x="136" y="144"/>
                    </a:cubicBezTo>
                    <a:cubicBezTo>
                      <a:pt x="137" y="146"/>
                      <a:pt x="137" y="146"/>
                      <a:pt x="137" y="146"/>
                    </a:cubicBezTo>
                    <a:cubicBezTo>
                      <a:pt x="137" y="149"/>
                      <a:pt x="137" y="149"/>
                      <a:pt x="137" y="149"/>
                    </a:cubicBezTo>
                    <a:cubicBezTo>
                      <a:pt x="140" y="152"/>
                      <a:pt x="140" y="152"/>
                      <a:pt x="140" y="152"/>
                    </a:cubicBezTo>
                    <a:cubicBezTo>
                      <a:pt x="135" y="184"/>
                      <a:pt x="135" y="184"/>
                      <a:pt x="135" y="184"/>
                    </a:cubicBezTo>
                    <a:cubicBezTo>
                      <a:pt x="129" y="223"/>
                      <a:pt x="129" y="223"/>
                      <a:pt x="129" y="223"/>
                    </a:cubicBezTo>
                    <a:cubicBezTo>
                      <a:pt x="123" y="223"/>
                      <a:pt x="123" y="223"/>
                      <a:pt x="123" y="223"/>
                    </a:cubicBezTo>
                    <a:cubicBezTo>
                      <a:pt x="112" y="221"/>
                      <a:pt x="112" y="221"/>
                      <a:pt x="112" y="221"/>
                    </a:cubicBezTo>
                    <a:cubicBezTo>
                      <a:pt x="99" y="218"/>
                      <a:pt x="99" y="218"/>
                      <a:pt x="99" y="218"/>
                    </a:cubicBezTo>
                    <a:cubicBezTo>
                      <a:pt x="83" y="215"/>
                      <a:pt x="83" y="215"/>
                      <a:pt x="83" y="215"/>
                    </a:cubicBezTo>
                    <a:cubicBezTo>
                      <a:pt x="66" y="212"/>
                      <a:pt x="66" y="212"/>
                      <a:pt x="66" y="212"/>
                    </a:cubicBezTo>
                    <a:cubicBezTo>
                      <a:pt x="55" y="209"/>
                      <a:pt x="55" y="209"/>
                      <a:pt x="55" y="209"/>
                    </a:cubicBezTo>
                    <a:cubicBezTo>
                      <a:pt x="42" y="207"/>
                      <a:pt x="42" y="207"/>
                      <a:pt x="42" y="207"/>
                    </a:cubicBezTo>
                    <a:lnTo>
                      <a:pt x="30" y="2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5" name="Freeform 31">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546 w 1787"/>
                  <a:gd name="T111" fmla="*/ 0 h 1755"/>
                  <a:gd name="T112" fmla="*/ 1258 w 1787"/>
                  <a:gd name="T113" fmla="*/ 1617 h 1755"/>
                  <a:gd name="T114" fmla="*/ 1291 w 1787"/>
                  <a:gd name="T115" fmla="*/ 1451 h 1755"/>
                  <a:gd name="T116" fmla="*/ 1346 w 1787"/>
                  <a:gd name="T117" fmla="*/ 1390 h 1755"/>
                  <a:gd name="T118" fmla="*/ 1263 w 1787"/>
                  <a:gd name="T119" fmla="*/ 1534 h 1755"/>
                  <a:gd name="T120" fmla="*/ 1285 w 1787"/>
                  <a:gd name="T121" fmla="*/ 1672 h 1755"/>
                  <a:gd name="T122" fmla="*/ 1285 w 1787"/>
                  <a:gd name="T123" fmla="*/ 1721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lnTo>
                      <a:pt x="546" y="0"/>
                    </a:lnTo>
                    <a:close/>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56" name="Freeform 32">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1285 w 1787"/>
                  <a:gd name="T111" fmla="*/ 1721 h 1755"/>
                  <a:gd name="T112" fmla="*/ 1252 w 1787"/>
                  <a:gd name="T113" fmla="*/ 1561 h 1755"/>
                  <a:gd name="T114" fmla="*/ 1318 w 1787"/>
                  <a:gd name="T115" fmla="*/ 1413 h 1755"/>
                  <a:gd name="T116" fmla="*/ 1307 w 1787"/>
                  <a:gd name="T117" fmla="*/ 1435 h 1755"/>
                  <a:gd name="T118" fmla="*/ 1258 w 1787"/>
                  <a:gd name="T119" fmla="*/ 1573 h 1755"/>
                  <a:gd name="T120" fmla="*/ 1291 w 1787"/>
                  <a:gd name="T121" fmla="*/ 171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57" name="Freeform 33">
                <a:extLst/>
              </p:cNvPr>
              <p:cNvSpPr>
                <a:spLocks noEditPoints="1"/>
              </p:cNvSpPr>
              <p:nvPr/>
            </p:nvSpPr>
            <p:spPr bwMode="auto">
              <a:xfrm>
                <a:off x="663575" y="1655763"/>
                <a:ext cx="1628775" cy="2794000"/>
              </a:xfrm>
              <a:custGeom>
                <a:avLst/>
                <a:gdLst>
                  <a:gd name="T0" fmla="*/ 170 w 186"/>
                  <a:gd name="T1" fmla="*/ 316 h 319"/>
                  <a:gd name="T2" fmla="*/ 166 w 186"/>
                  <a:gd name="T3" fmla="*/ 311 h 319"/>
                  <a:gd name="T4" fmla="*/ 170 w 186"/>
                  <a:gd name="T5" fmla="*/ 298 h 319"/>
                  <a:gd name="T6" fmla="*/ 176 w 186"/>
                  <a:gd name="T7" fmla="*/ 284 h 319"/>
                  <a:gd name="T8" fmla="*/ 185 w 186"/>
                  <a:gd name="T9" fmla="*/ 278 h 319"/>
                  <a:gd name="T10" fmla="*/ 183 w 186"/>
                  <a:gd name="T11" fmla="*/ 272 h 319"/>
                  <a:gd name="T12" fmla="*/ 178 w 186"/>
                  <a:gd name="T13" fmla="*/ 255 h 319"/>
                  <a:gd name="T14" fmla="*/ 129 w 186"/>
                  <a:gd name="T15" fmla="*/ 181 h 319"/>
                  <a:gd name="T16" fmla="*/ 85 w 186"/>
                  <a:gd name="T17" fmla="*/ 101 h 319"/>
                  <a:gd name="T18" fmla="*/ 88 w 186"/>
                  <a:gd name="T19" fmla="*/ 20 h 319"/>
                  <a:gd name="T20" fmla="*/ 43 w 186"/>
                  <a:gd name="T21" fmla="*/ 8 h 319"/>
                  <a:gd name="T22" fmla="*/ 17 w 186"/>
                  <a:gd name="T23" fmla="*/ 7 h 319"/>
                  <a:gd name="T24" fmla="*/ 6 w 186"/>
                  <a:gd name="T25" fmla="*/ 36 h 319"/>
                  <a:gd name="T26" fmla="*/ 1 w 186"/>
                  <a:gd name="T27" fmla="*/ 44 h 319"/>
                  <a:gd name="T28" fmla="*/ 6 w 186"/>
                  <a:gd name="T29" fmla="*/ 59 h 319"/>
                  <a:gd name="T30" fmla="*/ 4 w 186"/>
                  <a:gd name="T31" fmla="*/ 77 h 319"/>
                  <a:gd name="T32" fmla="*/ 4 w 186"/>
                  <a:gd name="T33" fmla="*/ 95 h 319"/>
                  <a:gd name="T34" fmla="*/ 13 w 186"/>
                  <a:gd name="T35" fmla="*/ 113 h 319"/>
                  <a:gd name="T36" fmla="*/ 12 w 186"/>
                  <a:gd name="T37" fmla="*/ 120 h 319"/>
                  <a:gd name="T38" fmla="*/ 18 w 186"/>
                  <a:gd name="T39" fmla="*/ 135 h 319"/>
                  <a:gd name="T40" fmla="*/ 20 w 186"/>
                  <a:gd name="T41" fmla="*/ 154 h 319"/>
                  <a:gd name="T42" fmla="*/ 28 w 186"/>
                  <a:gd name="T43" fmla="*/ 161 h 319"/>
                  <a:gd name="T44" fmla="*/ 22 w 186"/>
                  <a:gd name="T45" fmla="*/ 168 h 319"/>
                  <a:gd name="T46" fmla="*/ 26 w 186"/>
                  <a:gd name="T47" fmla="*/ 183 h 319"/>
                  <a:gd name="T48" fmla="*/ 32 w 186"/>
                  <a:gd name="T49" fmla="*/ 201 h 319"/>
                  <a:gd name="T50" fmla="*/ 39 w 186"/>
                  <a:gd name="T51" fmla="*/ 216 h 319"/>
                  <a:gd name="T52" fmla="*/ 40 w 186"/>
                  <a:gd name="T53" fmla="*/ 223 h 319"/>
                  <a:gd name="T54" fmla="*/ 40 w 186"/>
                  <a:gd name="T55" fmla="*/ 239 h 319"/>
                  <a:gd name="T56" fmla="*/ 57 w 186"/>
                  <a:gd name="T57" fmla="*/ 244 h 319"/>
                  <a:gd name="T58" fmla="*/ 68 w 186"/>
                  <a:gd name="T59" fmla="*/ 255 h 319"/>
                  <a:gd name="T60" fmla="*/ 81 w 186"/>
                  <a:gd name="T61" fmla="*/ 262 h 319"/>
                  <a:gd name="T62" fmla="*/ 82 w 186"/>
                  <a:gd name="T63" fmla="*/ 270 h 319"/>
                  <a:gd name="T64" fmla="*/ 90 w 186"/>
                  <a:gd name="T65" fmla="*/ 272 h 319"/>
                  <a:gd name="T66" fmla="*/ 101 w 186"/>
                  <a:gd name="T67" fmla="*/ 287 h 319"/>
                  <a:gd name="T68" fmla="*/ 104 w 186"/>
                  <a:gd name="T69" fmla="*/ 310 h 319"/>
                  <a:gd name="T70" fmla="*/ 145 w 186"/>
                  <a:gd name="T71" fmla="*/ 318 h 319"/>
                  <a:gd name="T72" fmla="*/ 48 w 186"/>
                  <a:gd name="T73" fmla="*/ 255 h 319"/>
                  <a:gd name="T74" fmla="*/ 43 w 186"/>
                  <a:gd name="T75" fmla="*/ 255 h 319"/>
                  <a:gd name="T76" fmla="*/ 49 w 186"/>
                  <a:gd name="T77" fmla="*/ 253 h 319"/>
                  <a:gd name="T78" fmla="*/ 59 w 186"/>
                  <a:gd name="T79" fmla="*/ 256 h 319"/>
                  <a:gd name="T80" fmla="*/ 50 w 186"/>
                  <a:gd name="T81" fmla="*/ 255 h 319"/>
                  <a:gd name="T82" fmla="*/ 79 w 186"/>
                  <a:gd name="T83" fmla="*/ 282 h 319"/>
                  <a:gd name="T84" fmla="*/ 82 w 186"/>
                  <a:gd name="T85" fmla="*/ 282 h 319"/>
                  <a:gd name="T86" fmla="*/ 76 w 186"/>
                  <a:gd name="T87" fmla="*/ 278 h 319"/>
                  <a:gd name="T88" fmla="*/ 77 w 186"/>
                  <a:gd name="T89" fmla="*/ 295 h 319"/>
                  <a:gd name="T90" fmla="*/ 75 w 186"/>
                  <a:gd name="T91" fmla="*/ 29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319">
                    <a:moveTo>
                      <a:pt x="163" y="319"/>
                    </a:moveTo>
                    <a:cubicBezTo>
                      <a:pt x="168" y="318"/>
                      <a:pt x="168" y="318"/>
                      <a:pt x="168" y="318"/>
                    </a:cubicBezTo>
                    <a:cubicBezTo>
                      <a:pt x="170" y="316"/>
                      <a:pt x="170" y="316"/>
                      <a:pt x="170" y="316"/>
                    </a:cubicBezTo>
                    <a:cubicBezTo>
                      <a:pt x="171" y="313"/>
                      <a:pt x="171" y="313"/>
                      <a:pt x="171" y="313"/>
                    </a:cubicBezTo>
                    <a:cubicBezTo>
                      <a:pt x="167" y="313"/>
                      <a:pt x="167" y="313"/>
                      <a:pt x="167" y="313"/>
                    </a:cubicBezTo>
                    <a:cubicBezTo>
                      <a:pt x="166" y="311"/>
                      <a:pt x="166" y="311"/>
                      <a:pt x="166" y="311"/>
                    </a:cubicBezTo>
                    <a:cubicBezTo>
                      <a:pt x="167" y="308"/>
                      <a:pt x="167" y="308"/>
                      <a:pt x="167" y="308"/>
                    </a:cubicBezTo>
                    <a:cubicBezTo>
                      <a:pt x="167" y="300"/>
                      <a:pt x="167" y="300"/>
                      <a:pt x="167" y="300"/>
                    </a:cubicBezTo>
                    <a:cubicBezTo>
                      <a:pt x="170" y="298"/>
                      <a:pt x="170" y="298"/>
                      <a:pt x="170" y="298"/>
                    </a:cubicBezTo>
                    <a:cubicBezTo>
                      <a:pt x="173" y="295"/>
                      <a:pt x="173" y="295"/>
                      <a:pt x="173" y="295"/>
                    </a:cubicBezTo>
                    <a:cubicBezTo>
                      <a:pt x="174" y="288"/>
                      <a:pt x="174" y="288"/>
                      <a:pt x="174" y="288"/>
                    </a:cubicBezTo>
                    <a:cubicBezTo>
                      <a:pt x="176" y="284"/>
                      <a:pt x="176" y="284"/>
                      <a:pt x="176" y="284"/>
                    </a:cubicBezTo>
                    <a:cubicBezTo>
                      <a:pt x="179" y="281"/>
                      <a:pt x="179" y="281"/>
                      <a:pt x="179" y="281"/>
                    </a:cubicBezTo>
                    <a:cubicBezTo>
                      <a:pt x="183" y="279"/>
                      <a:pt x="183" y="279"/>
                      <a:pt x="183" y="279"/>
                    </a:cubicBezTo>
                    <a:cubicBezTo>
                      <a:pt x="185" y="278"/>
                      <a:pt x="185" y="278"/>
                      <a:pt x="185" y="278"/>
                    </a:cubicBezTo>
                    <a:cubicBezTo>
                      <a:pt x="186" y="276"/>
                      <a:pt x="186" y="276"/>
                      <a:pt x="186" y="276"/>
                    </a:cubicBezTo>
                    <a:cubicBezTo>
                      <a:pt x="184" y="274"/>
                      <a:pt x="184" y="274"/>
                      <a:pt x="184" y="274"/>
                    </a:cubicBezTo>
                    <a:cubicBezTo>
                      <a:pt x="183" y="272"/>
                      <a:pt x="183" y="272"/>
                      <a:pt x="183" y="272"/>
                    </a:cubicBezTo>
                    <a:cubicBezTo>
                      <a:pt x="182" y="265"/>
                      <a:pt x="182" y="265"/>
                      <a:pt x="182" y="265"/>
                    </a:cubicBezTo>
                    <a:cubicBezTo>
                      <a:pt x="178" y="258"/>
                      <a:pt x="178" y="258"/>
                      <a:pt x="178" y="258"/>
                    </a:cubicBezTo>
                    <a:cubicBezTo>
                      <a:pt x="178" y="255"/>
                      <a:pt x="178" y="255"/>
                      <a:pt x="178" y="255"/>
                    </a:cubicBezTo>
                    <a:cubicBezTo>
                      <a:pt x="175" y="250"/>
                      <a:pt x="175" y="250"/>
                      <a:pt x="175" y="250"/>
                    </a:cubicBezTo>
                    <a:cubicBezTo>
                      <a:pt x="155" y="219"/>
                      <a:pt x="155" y="219"/>
                      <a:pt x="155" y="219"/>
                    </a:cubicBezTo>
                    <a:cubicBezTo>
                      <a:pt x="129" y="181"/>
                      <a:pt x="129" y="181"/>
                      <a:pt x="129" y="181"/>
                    </a:cubicBezTo>
                    <a:cubicBezTo>
                      <a:pt x="99" y="137"/>
                      <a:pt x="99" y="137"/>
                      <a:pt x="99" y="137"/>
                    </a:cubicBezTo>
                    <a:cubicBezTo>
                      <a:pt x="82" y="111"/>
                      <a:pt x="82" y="111"/>
                      <a:pt x="82" y="111"/>
                    </a:cubicBezTo>
                    <a:cubicBezTo>
                      <a:pt x="85" y="101"/>
                      <a:pt x="85" y="101"/>
                      <a:pt x="85" y="101"/>
                    </a:cubicBezTo>
                    <a:cubicBezTo>
                      <a:pt x="94" y="67"/>
                      <a:pt x="94" y="67"/>
                      <a:pt x="94" y="67"/>
                    </a:cubicBezTo>
                    <a:cubicBezTo>
                      <a:pt x="105" y="25"/>
                      <a:pt x="105" y="25"/>
                      <a:pt x="105" y="25"/>
                    </a:cubicBezTo>
                    <a:cubicBezTo>
                      <a:pt x="88" y="20"/>
                      <a:pt x="88" y="20"/>
                      <a:pt x="88" y="20"/>
                    </a:cubicBezTo>
                    <a:cubicBezTo>
                      <a:pt x="70" y="16"/>
                      <a:pt x="70" y="16"/>
                      <a:pt x="70" y="16"/>
                    </a:cubicBezTo>
                    <a:cubicBezTo>
                      <a:pt x="54" y="10"/>
                      <a:pt x="54" y="10"/>
                      <a:pt x="54" y="10"/>
                    </a:cubicBezTo>
                    <a:cubicBezTo>
                      <a:pt x="43" y="8"/>
                      <a:pt x="43" y="8"/>
                      <a:pt x="43" y="8"/>
                    </a:cubicBezTo>
                    <a:cubicBezTo>
                      <a:pt x="28" y="4"/>
                      <a:pt x="28" y="4"/>
                      <a:pt x="28" y="4"/>
                    </a:cubicBezTo>
                    <a:cubicBezTo>
                      <a:pt x="19" y="0"/>
                      <a:pt x="19" y="0"/>
                      <a:pt x="19" y="0"/>
                    </a:cubicBezTo>
                    <a:cubicBezTo>
                      <a:pt x="17" y="7"/>
                      <a:pt x="17" y="7"/>
                      <a:pt x="17" y="7"/>
                    </a:cubicBezTo>
                    <a:cubicBezTo>
                      <a:pt x="17" y="17"/>
                      <a:pt x="17" y="17"/>
                      <a:pt x="17" y="17"/>
                    </a:cubicBezTo>
                    <a:cubicBezTo>
                      <a:pt x="10" y="32"/>
                      <a:pt x="10" y="32"/>
                      <a:pt x="10" y="32"/>
                    </a:cubicBezTo>
                    <a:cubicBezTo>
                      <a:pt x="6" y="36"/>
                      <a:pt x="6" y="36"/>
                      <a:pt x="6" y="36"/>
                    </a:cubicBezTo>
                    <a:cubicBezTo>
                      <a:pt x="5" y="37"/>
                      <a:pt x="5" y="37"/>
                      <a:pt x="5" y="37"/>
                    </a:cubicBezTo>
                    <a:cubicBezTo>
                      <a:pt x="3" y="38"/>
                      <a:pt x="3" y="38"/>
                      <a:pt x="3" y="38"/>
                    </a:cubicBezTo>
                    <a:cubicBezTo>
                      <a:pt x="1" y="44"/>
                      <a:pt x="1" y="44"/>
                      <a:pt x="1" y="44"/>
                    </a:cubicBezTo>
                    <a:cubicBezTo>
                      <a:pt x="0" y="48"/>
                      <a:pt x="0" y="48"/>
                      <a:pt x="0" y="48"/>
                    </a:cubicBezTo>
                    <a:cubicBezTo>
                      <a:pt x="3" y="54"/>
                      <a:pt x="3" y="54"/>
                      <a:pt x="3" y="54"/>
                    </a:cubicBezTo>
                    <a:cubicBezTo>
                      <a:pt x="6" y="59"/>
                      <a:pt x="6" y="59"/>
                      <a:pt x="6" y="59"/>
                    </a:cubicBezTo>
                    <a:cubicBezTo>
                      <a:pt x="7" y="64"/>
                      <a:pt x="7" y="64"/>
                      <a:pt x="7" y="64"/>
                    </a:cubicBezTo>
                    <a:cubicBezTo>
                      <a:pt x="7" y="73"/>
                      <a:pt x="7" y="73"/>
                      <a:pt x="7" y="73"/>
                    </a:cubicBezTo>
                    <a:cubicBezTo>
                      <a:pt x="4" y="77"/>
                      <a:pt x="4" y="77"/>
                      <a:pt x="4" y="77"/>
                    </a:cubicBezTo>
                    <a:cubicBezTo>
                      <a:pt x="3" y="85"/>
                      <a:pt x="3" y="85"/>
                      <a:pt x="3" y="85"/>
                    </a:cubicBezTo>
                    <a:cubicBezTo>
                      <a:pt x="2" y="90"/>
                      <a:pt x="2" y="90"/>
                      <a:pt x="2" y="90"/>
                    </a:cubicBezTo>
                    <a:cubicBezTo>
                      <a:pt x="4" y="95"/>
                      <a:pt x="4" y="95"/>
                      <a:pt x="4" y="95"/>
                    </a:cubicBezTo>
                    <a:cubicBezTo>
                      <a:pt x="8" y="101"/>
                      <a:pt x="8" y="101"/>
                      <a:pt x="8" y="101"/>
                    </a:cubicBezTo>
                    <a:cubicBezTo>
                      <a:pt x="11" y="107"/>
                      <a:pt x="11" y="107"/>
                      <a:pt x="11" y="107"/>
                    </a:cubicBezTo>
                    <a:cubicBezTo>
                      <a:pt x="13" y="113"/>
                      <a:pt x="13" y="113"/>
                      <a:pt x="13" y="113"/>
                    </a:cubicBezTo>
                    <a:cubicBezTo>
                      <a:pt x="12" y="117"/>
                      <a:pt x="12" y="117"/>
                      <a:pt x="12" y="117"/>
                    </a:cubicBezTo>
                    <a:cubicBezTo>
                      <a:pt x="12" y="118"/>
                      <a:pt x="12" y="118"/>
                      <a:pt x="12" y="118"/>
                    </a:cubicBezTo>
                    <a:cubicBezTo>
                      <a:pt x="12" y="120"/>
                      <a:pt x="12" y="120"/>
                      <a:pt x="12" y="120"/>
                    </a:cubicBezTo>
                    <a:cubicBezTo>
                      <a:pt x="20" y="129"/>
                      <a:pt x="20" y="129"/>
                      <a:pt x="20" y="129"/>
                    </a:cubicBezTo>
                    <a:cubicBezTo>
                      <a:pt x="19" y="132"/>
                      <a:pt x="19" y="132"/>
                      <a:pt x="19" y="132"/>
                    </a:cubicBezTo>
                    <a:cubicBezTo>
                      <a:pt x="18" y="135"/>
                      <a:pt x="18" y="135"/>
                      <a:pt x="18" y="135"/>
                    </a:cubicBezTo>
                    <a:cubicBezTo>
                      <a:pt x="17" y="138"/>
                      <a:pt x="17" y="138"/>
                      <a:pt x="17" y="138"/>
                    </a:cubicBezTo>
                    <a:cubicBezTo>
                      <a:pt x="17" y="149"/>
                      <a:pt x="17" y="149"/>
                      <a:pt x="17" y="149"/>
                    </a:cubicBezTo>
                    <a:cubicBezTo>
                      <a:pt x="20" y="154"/>
                      <a:pt x="20" y="154"/>
                      <a:pt x="20" y="154"/>
                    </a:cubicBezTo>
                    <a:cubicBezTo>
                      <a:pt x="23" y="157"/>
                      <a:pt x="23" y="157"/>
                      <a:pt x="23" y="157"/>
                    </a:cubicBezTo>
                    <a:cubicBezTo>
                      <a:pt x="26" y="158"/>
                      <a:pt x="26" y="158"/>
                      <a:pt x="26" y="158"/>
                    </a:cubicBezTo>
                    <a:cubicBezTo>
                      <a:pt x="28" y="161"/>
                      <a:pt x="28" y="161"/>
                      <a:pt x="28" y="161"/>
                    </a:cubicBezTo>
                    <a:cubicBezTo>
                      <a:pt x="26" y="166"/>
                      <a:pt x="26" y="166"/>
                      <a:pt x="26" y="166"/>
                    </a:cubicBezTo>
                    <a:cubicBezTo>
                      <a:pt x="23" y="168"/>
                      <a:pt x="23" y="168"/>
                      <a:pt x="23" y="168"/>
                    </a:cubicBezTo>
                    <a:cubicBezTo>
                      <a:pt x="22" y="168"/>
                      <a:pt x="22" y="168"/>
                      <a:pt x="22" y="168"/>
                    </a:cubicBezTo>
                    <a:cubicBezTo>
                      <a:pt x="21" y="174"/>
                      <a:pt x="21" y="174"/>
                      <a:pt x="21" y="174"/>
                    </a:cubicBezTo>
                    <a:cubicBezTo>
                      <a:pt x="21" y="177"/>
                      <a:pt x="21" y="177"/>
                      <a:pt x="21" y="177"/>
                    </a:cubicBezTo>
                    <a:cubicBezTo>
                      <a:pt x="26" y="183"/>
                      <a:pt x="26" y="183"/>
                      <a:pt x="26" y="183"/>
                    </a:cubicBezTo>
                    <a:cubicBezTo>
                      <a:pt x="28" y="190"/>
                      <a:pt x="28" y="190"/>
                      <a:pt x="28" y="190"/>
                    </a:cubicBezTo>
                    <a:cubicBezTo>
                      <a:pt x="30" y="197"/>
                      <a:pt x="30" y="197"/>
                      <a:pt x="30" y="197"/>
                    </a:cubicBezTo>
                    <a:cubicBezTo>
                      <a:pt x="32" y="201"/>
                      <a:pt x="32" y="201"/>
                      <a:pt x="32" y="201"/>
                    </a:cubicBezTo>
                    <a:cubicBezTo>
                      <a:pt x="36" y="208"/>
                      <a:pt x="36" y="208"/>
                      <a:pt x="36" y="208"/>
                    </a:cubicBezTo>
                    <a:cubicBezTo>
                      <a:pt x="38" y="212"/>
                      <a:pt x="38" y="212"/>
                      <a:pt x="38" y="212"/>
                    </a:cubicBezTo>
                    <a:cubicBezTo>
                      <a:pt x="39" y="216"/>
                      <a:pt x="39" y="216"/>
                      <a:pt x="39" y="216"/>
                    </a:cubicBezTo>
                    <a:cubicBezTo>
                      <a:pt x="41" y="217"/>
                      <a:pt x="41" y="217"/>
                      <a:pt x="41" y="217"/>
                    </a:cubicBezTo>
                    <a:cubicBezTo>
                      <a:pt x="41" y="220"/>
                      <a:pt x="41" y="220"/>
                      <a:pt x="41" y="220"/>
                    </a:cubicBezTo>
                    <a:cubicBezTo>
                      <a:pt x="40" y="223"/>
                      <a:pt x="40" y="223"/>
                      <a:pt x="40" y="223"/>
                    </a:cubicBezTo>
                    <a:cubicBezTo>
                      <a:pt x="37" y="232"/>
                      <a:pt x="37" y="232"/>
                      <a:pt x="37" y="232"/>
                    </a:cubicBezTo>
                    <a:cubicBezTo>
                      <a:pt x="37" y="235"/>
                      <a:pt x="37" y="235"/>
                      <a:pt x="37" y="235"/>
                    </a:cubicBezTo>
                    <a:cubicBezTo>
                      <a:pt x="40" y="239"/>
                      <a:pt x="40" y="239"/>
                      <a:pt x="40" y="239"/>
                    </a:cubicBezTo>
                    <a:cubicBezTo>
                      <a:pt x="46" y="239"/>
                      <a:pt x="46" y="239"/>
                      <a:pt x="46" y="239"/>
                    </a:cubicBezTo>
                    <a:cubicBezTo>
                      <a:pt x="52" y="242"/>
                      <a:pt x="52" y="242"/>
                      <a:pt x="52" y="242"/>
                    </a:cubicBezTo>
                    <a:cubicBezTo>
                      <a:pt x="57" y="244"/>
                      <a:pt x="57" y="244"/>
                      <a:pt x="57" y="244"/>
                    </a:cubicBezTo>
                    <a:cubicBezTo>
                      <a:pt x="61" y="244"/>
                      <a:pt x="61" y="244"/>
                      <a:pt x="61" y="244"/>
                    </a:cubicBezTo>
                    <a:cubicBezTo>
                      <a:pt x="65" y="249"/>
                      <a:pt x="65" y="249"/>
                      <a:pt x="65" y="249"/>
                    </a:cubicBezTo>
                    <a:cubicBezTo>
                      <a:pt x="68" y="255"/>
                      <a:pt x="68" y="255"/>
                      <a:pt x="68" y="255"/>
                    </a:cubicBezTo>
                    <a:cubicBezTo>
                      <a:pt x="70" y="258"/>
                      <a:pt x="70" y="258"/>
                      <a:pt x="70" y="258"/>
                    </a:cubicBezTo>
                    <a:cubicBezTo>
                      <a:pt x="75" y="261"/>
                      <a:pt x="75" y="261"/>
                      <a:pt x="75" y="261"/>
                    </a:cubicBezTo>
                    <a:cubicBezTo>
                      <a:pt x="81" y="262"/>
                      <a:pt x="81" y="262"/>
                      <a:pt x="81" y="262"/>
                    </a:cubicBezTo>
                    <a:cubicBezTo>
                      <a:pt x="83" y="265"/>
                      <a:pt x="83" y="265"/>
                      <a:pt x="83" y="265"/>
                    </a:cubicBezTo>
                    <a:cubicBezTo>
                      <a:pt x="84" y="269"/>
                      <a:pt x="84" y="269"/>
                      <a:pt x="84" y="269"/>
                    </a:cubicBezTo>
                    <a:cubicBezTo>
                      <a:pt x="82" y="270"/>
                      <a:pt x="82" y="270"/>
                      <a:pt x="82" y="270"/>
                    </a:cubicBezTo>
                    <a:cubicBezTo>
                      <a:pt x="82" y="271"/>
                      <a:pt x="82" y="271"/>
                      <a:pt x="82" y="271"/>
                    </a:cubicBezTo>
                    <a:cubicBezTo>
                      <a:pt x="87" y="272"/>
                      <a:pt x="87" y="272"/>
                      <a:pt x="87" y="272"/>
                    </a:cubicBezTo>
                    <a:cubicBezTo>
                      <a:pt x="90" y="272"/>
                      <a:pt x="90" y="272"/>
                      <a:pt x="90" y="272"/>
                    </a:cubicBezTo>
                    <a:cubicBezTo>
                      <a:pt x="94" y="279"/>
                      <a:pt x="94" y="279"/>
                      <a:pt x="94" y="279"/>
                    </a:cubicBezTo>
                    <a:cubicBezTo>
                      <a:pt x="100" y="284"/>
                      <a:pt x="100" y="284"/>
                      <a:pt x="100" y="284"/>
                    </a:cubicBezTo>
                    <a:cubicBezTo>
                      <a:pt x="101" y="287"/>
                      <a:pt x="101" y="287"/>
                      <a:pt x="101" y="287"/>
                    </a:cubicBezTo>
                    <a:cubicBezTo>
                      <a:pt x="104" y="293"/>
                      <a:pt x="104" y="293"/>
                      <a:pt x="104" y="293"/>
                    </a:cubicBezTo>
                    <a:cubicBezTo>
                      <a:pt x="104" y="297"/>
                      <a:pt x="104" y="297"/>
                      <a:pt x="104" y="297"/>
                    </a:cubicBezTo>
                    <a:cubicBezTo>
                      <a:pt x="104" y="310"/>
                      <a:pt x="104" y="310"/>
                      <a:pt x="104" y="310"/>
                    </a:cubicBezTo>
                    <a:cubicBezTo>
                      <a:pt x="105" y="312"/>
                      <a:pt x="105" y="312"/>
                      <a:pt x="105" y="312"/>
                    </a:cubicBezTo>
                    <a:cubicBezTo>
                      <a:pt x="118" y="314"/>
                      <a:pt x="118" y="314"/>
                      <a:pt x="118" y="314"/>
                    </a:cubicBezTo>
                    <a:cubicBezTo>
                      <a:pt x="145" y="318"/>
                      <a:pt x="145" y="318"/>
                      <a:pt x="145" y="318"/>
                    </a:cubicBezTo>
                    <a:lnTo>
                      <a:pt x="163" y="319"/>
                    </a:lnTo>
                    <a:close/>
                    <a:moveTo>
                      <a:pt x="46" y="253"/>
                    </a:moveTo>
                    <a:cubicBezTo>
                      <a:pt x="48" y="255"/>
                      <a:pt x="48" y="255"/>
                      <a:pt x="48" y="255"/>
                    </a:cubicBezTo>
                    <a:cubicBezTo>
                      <a:pt x="48" y="256"/>
                      <a:pt x="48" y="256"/>
                      <a:pt x="48" y="256"/>
                    </a:cubicBezTo>
                    <a:cubicBezTo>
                      <a:pt x="43" y="256"/>
                      <a:pt x="43" y="256"/>
                      <a:pt x="43" y="256"/>
                    </a:cubicBezTo>
                    <a:cubicBezTo>
                      <a:pt x="43" y="255"/>
                      <a:pt x="43" y="255"/>
                      <a:pt x="43" y="255"/>
                    </a:cubicBezTo>
                    <a:cubicBezTo>
                      <a:pt x="42" y="253"/>
                      <a:pt x="42" y="253"/>
                      <a:pt x="42" y="253"/>
                    </a:cubicBezTo>
                    <a:lnTo>
                      <a:pt x="46" y="253"/>
                    </a:lnTo>
                    <a:close/>
                    <a:moveTo>
                      <a:pt x="49" y="253"/>
                    </a:moveTo>
                    <a:cubicBezTo>
                      <a:pt x="50" y="252"/>
                      <a:pt x="50" y="252"/>
                      <a:pt x="50" y="252"/>
                    </a:cubicBezTo>
                    <a:cubicBezTo>
                      <a:pt x="55" y="255"/>
                      <a:pt x="55" y="255"/>
                      <a:pt x="55" y="255"/>
                    </a:cubicBezTo>
                    <a:cubicBezTo>
                      <a:pt x="59" y="256"/>
                      <a:pt x="59" y="256"/>
                      <a:pt x="59" y="256"/>
                    </a:cubicBezTo>
                    <a:cubicBezTo>
                      <a:pt x="58" y="257"/>
                      <a:pt x="58" y="257"/>
                      <a:pt x="58" y="257"/>
                    </a:cubicBezTo>
                    <a:cubicBezTo>
                      <a:pt x="52" y="257"/>
                      <a:pt x="52" y="257"/>
                      <a:pt x="52" y="257"/>
                    </a:cubicBezTo>
                    <a:cubicBezTo>
                      <a:pt x="50" y="255"/>
                      <a:pt x="50" y="255"/>
                      <a:pt x="50" y="255"/>
                    </a:cubicBezTo>
                    <a:lnTo>
                      <a:pt x="49" y="253"/>
                    </a:lnTo>
                    <a:close/>
                    <a:moveTo>
                      <a:pt x="76" y="279"/>
                    </a:moveTo>
                    <a:cubicBezTo>
                      <a:pt x="79" y="282"/>
                      <a:pt x="79" y="282"/>
                      <a:pt x="79" y="282"/>
                    </a:cubicBezTo>
                    <a:cubicBezTo>
                      <a:pt x="80" y="284"/>
                      <a:pt x="80" y="284"/>
                      <a:pt x="80" y="284"/>
                    </a:cubicBezTo>
                    <a:cubicBezTo>
                      <a:pt x="82" y="284"/>
                      <a:pt x="82" y="284"/>
                      <a:pt x="82" y="284"/>
                    </a:cubicBezTo>
                    <a:cubicBezTo>
                      <a:pt x="82" y="282"/>
                      <a:pt x="82" y="282"/>
                      <a:pt x="82" y="282"/>
                    </a:cubicBezTo>
                    <a:cubicBezTo>
                      <a:pt x="81" y="280"/>
                      <a:pt x="81" y="280"/>
                      <a:pt x="81" y="280"/>
                    </a:cubicBezTo>
                    <a:cubicBezTo>
                      <a:pt x="78" y="277"/>
                      <a:pt x="78" y="277"/>
                      <a:pt x="78" y="277"/>
                    </a:cubicBezTo>
                    <a:cubicBezTo>
                      <a:pt x="76" y="278"/>
                      <a:pt x="76" y="278"/>
                      <a:pt x="76" y="278"/>
                    </a:cubicBezTo>
                    <a:lnTo>
                      <a:pt x="76" y="279"/>
                    </a:lnTo>
                    <a:close/>
                    <a:moveTo>
                      <a:pt x="74" y="291"/>
                    </a:moveTo>
                    <a:cubicBezTo>
                      <a:pt x="77" y="295"/>
                      <a:pt x="77" y="295"/>
                      <a:pt x="77" y="295"/>
                    </a:cubicBezTo>
                    <a:cubicBezTo>
                      <a:pt x="78" y="297"/>
                      <a:pt x="78" y="297"/>
                      <a:pt x="78" y="297"/>
                    </a:cubicBezTo>
                    <a:cubicBezTo>
                      <a:pt x="76" y="298"/>
                      <a:pt x="76" y="298"/>
                      <a:pt x="76" y="298"/>
                    </a:cubicBezTo>
                    <a:cubicBezTo>
                      <a:pt x="75" y="296"/>
                      <a:pt x="75" y="296"/>
                      <a:pt x="75" y="296"/>
                    </a:cubicBezTo>
                    <a:cubicBezTo>
                      <a:pt x="75" y="296"/>
                      <a:pt x="74" y="294"/>
                      <a:pt x="74" y="294"/>
                    </a:cubicBezTo>
                    <a:cubicBezTo>
                      <a:pt x="74" y="293"/>
                      <a:pt x="74" y="291"/>
                      <a:pt x="74" y="291"/>
                    </a:cubicBez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8" name="Freeform 34">
                <a:extLst/>
              </p:cNvPr>
              <p:cNvSpPr>
                <a:spLocks/>
              </p:cNvSpPr>
              <p:nvPr/>
            </p:nvSpPr>
            <p:spPr bwMode="auto">
              <a:xfrm>
                <a:off x="2073275" y="3389313"/>
                <a:ext cx="1374775" cy="1611313"/>
              </a:xfrm>
              <a:custGeom>
                <a:avLst/>
                <a:gdLst>
                  <a:gd name="T0" fmla="*/ 22 w 866"/>
                  <a:gd name="T1" fmla="*/ 673 h 1015"/>
                  <a:gd name="T2" fmla="*/ 0 w 866"/>
                  <a:gd name="T3" fmla="*/ 690 h 1015"/>
                  <a:gd name="T4" fmla="*/ 0 w 866"/>
                  <a:gd name="T5" fmla="*/ 701 h 1015"/>
                  <a:gd name="T6" fmla="*/ 0 w 866"/>
                  <a:gd name="T7" fmla="*/ 706 h 1015"/>
                  <a:gd name="T8" fmla="*/ 143 w 866"/>
                  <a:gd name="T9" fmla="*/ 784 h 1015"/>
                  <a:gd name="T10" fmla="*/ 232 w 866"/>
                  <a:gd name="T11" fmla="*/ 839 h 1015"/>
                  <a:gd name="T12" fmla="*/ 336 w 866"/>
                  <a:gd name="T13" fmla="*/ 905 h 1015"/>
                  <a:gd name="T14" fmla="*/ 463 w 866"/>
                  <a:gd name="T15" fmla="*/ 977 h 1015"/>
                  <a:gd name="T16" fmla="*/ 551 w 866"/>
                  <a:gd name="T17" fmla="*/ 993 h 1015"/>
                  <a:gd name="T18" fmla="*/ 739 w 866"/>
                  <a:gd name="T19" fmla="*/ 1015 h 1015"/>
                  <a:gd name="T20" fmla="*/ 756 w 866"/>
                  <a:gd name="T21" fmla="*/ 922 h 1015"/>
                  <a:gd name="T22" fmla="*/ 783 w 866"/>
                  <a:gd name="T23" fmla="*/ 723 h 1015"/>
                  <a:gd name="T24" fmla="*/ 833 w 866"/>
                  <a:gd name="T25" fmla="*/ 337 h 1015"/>
                  <a:gd name="T26" fmla="*/ 866 w 866"/>
                  <a:gd name="T27" fmla="*/ 105 h 1015"/>
                  <a:gd name="T28" fmla="*/ 684 w 866"/>
                  <a:gd name="T29" fmla="*/ 77 h 1015"/>
                  <a:gd name="T30" fmla="*/ 485 w 866"/>
                  <a:gd name="T31" fmla="*/ 44 h 1015"/>
                  <a:gd name="T32" fmla="*/ 237 w 866"/>
                  <a:gd name="T33" fmla="*/ 0 h 1015"/>
                  <a:gd name="T34" fmla="*/ 215 w 866"/>
                  <a:gd name="T35" fmla="*/ 133 h 1015"/>
                  <a:gd name="T36" fmla="*/ 215 w 866"/>
                  <a:gd name="T37" fmla="*/ 138 h 1015"/>
                  <a:gd name="T38" fmla="*/ 204 w 866"/>
                  <a:gd name="T39" fmla="*/ 155 h 1015"/>
                  <a:gd name="T40" fmla="*/ 182 w 866"/>
                  <a:gd name="T41" fmla="*/ 155 h 1015"/>
                  <a:gd name="T42" fmla="*/ 176 w 866"/>
                  <a:gd name="T43" fmla="*/ 133 h 1015"/>
                  <a:gd name="T44" fmla="*/ 154 w 866"/>
                  <a:gd name="T45" fmla="*/ 133 h 1015"/>
                  <a:gd name="T46" fmla="*/ 149 w 866"/>
                  <a:gd name="T47" fmla="*/ 122 h 1015"/>
                  <a:gd name="T48" fmla="*/ 138 w 866"/>
                  <a:gd name="T49" fmla="*/ 122 h 1015"/>
                  <a:gd name="T50" fmla="*/ 132 w 866"/>
                  <a:gd name="T51" fmla="*/ 127 h 1015"/>
                  <a:gd name="T52" fmla="*/ 121 w 866"/>
                  <a:gd name="T53" fmla="*/ 133 h 1015"/>
                  <a:gd name="T54" fmla="*/ 116 w 866"/>
                  <a:gd name="T55" fmla="*/ 188 h 1015"/>
                  <a:gd name="T56" fmla="*/ 116 w 866"/>
                  <a:gd name="T57" fmla="*/ 199 h 1015"/>
                  <a:gd name="T58" fmla="*/ 110 w 866"/>
                  <a:gd name="T59" fmla="*/ 293 h 1015"/>
                  <a:gd name="T60" fmla="*/ 99 w 866"/>
                  <a:gd name="T61" fmla="*/ 309 h 1015"/>
                  <a:gd name="T62" fmla="*/ 99 w 866"/>
                  <a:gd name="T63" fmla="*/ 331 h 1015"/>
                  <a:gd name="T64" fmla="*/ 116 w 866"/>
                  <a:gd name="T65" fmla="*/ 370 h 1015"/>
                  <a:gd name="T66" fmla="*/ 127 w 866"/>
                  <a:gd name="T67" fmla="*/ 409 h 1015"/>
                  <a:gd name="T68" fmla="*/ 132 w 866"/>
                  <a:gd name="T69" fmla="*/ 420 h 1015"/>
                  <a:gd name="T70" fmla="*/ 138 w 866"/>
                  <a:gd name="T71" fmla="*/ 425 h 1015"/>
                  <a:gd name="T72" fmla="*/ 138 w 866"/>
                  <a:gd name="T73" fmla="*/ 442 h 1015"/>
                  <a:gd name="T74" fmla="*/ 127 w 866"/>
                  <a:gd name="T75" fmla="*/ 447 h 1015"/>
                  <a:gd name="T76" fmla="*/ 105 w 866"/>
                  <a:gd name="T77" fmla="*/ 464 h 1015"/>
                  <a:gd name="T78" fmla="*/ 88 w 866"/>
                  <a:gd name="T79" fmla="*/ 475 h 1015"/>
                  <a:gd name="T80" fmla="*/ 77 w 866"/>
                  <a:gd name="T81" fmla="*/ 502 h 1015"/>
                  <a:gd name="T82" fmla="*/ 72 w 866"/>
                  <a:gd name="T83" fmla="*/ 541 h 1015"/>
                  <a:gd name="T84" fmla="*/ 50 w 866"/>
                  <a:gd name="T85" fmla="*/ 557 h 1015"/>
                  <a:gd name="T86" fmla="*/ 39 w 866"/>
                  <a:gd name="T87" fmla="*/ 563 h 1015"/>
                  <a:gd name="T88" fmla="*/ 39 w 866"/>
                  <a:gd name="T89" fmla="*/ 607 h 1015"/>
                  <a:gd name="T90" fmla="*/ 33 w 866"/>
                  <a:gd name="T91" fmla="*/ 618 h 1015"/>
                  <a:gd name="T92" fmla="*/ 39 w 866"/>
                  <a:gd name="T93" fmla="*/ 624 h 1015"/>
                  <a:gd name="T94" fmla="*/ 61 w 866"/>
                  <a:gd name="T95" fmla="*/ 629 h 1015"/>
                  <a:gd name="T96" fmla="*/ 61 w 866"/>
                  <a:gd name="T97" fmla="*/ 651 h 1015"/>
                  <a:gd name="T98" fmla="*/ 50 w 866"/>
                  <a:gd name="T99" fmla="*/ 668 h 1015"/>
                  <a:gd name="T100" fmla="*/ 22 w 866"/>
                  <a:gd name="T101" fmla="*/ 67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6" h="1015">
                    <a:moveTo>
                      <a:pt x="22" y="673"/>
                    </a:moveTo>
                    <a:lnTo>
                      <a:pt x="0" y="690"/>
                    </a:lnTo>
                    <a:lnTo>
                      <a:pt x="0" y="701"/>
                    </a:lnTo>
                    <a:lnTo>
                      <a:pt x="0" y="706"/>
                    </a:lnTo>
                    <a:lnTo>
                      <a:pt x="143" y="784"/>
                    </a:lnTo>
                    <a:lnTo>
                      <a:pt x="232" y="839"/>
                    </a:lnTo>
                    <a:lnTo>
                      <a:pt x="336" y="905"/>
                    </a:lnTo>
                    <a:lnTo>
                      <a:pt x="463" y="977"/>
                    </a:lnTo>
                    <a:lnTo>
                      <a:pt x="551" y="993"/>
                    </a:lnTo>
                    <a:lnTo>
                      <a:pt x="739" y="1015"/>
                    </a:lnTo>
                    <a:lnTo>
                      <a:pt x="756" y="922"/>
                    </a:lnTo>
                    <a:lnTo>
                      <a:pt x="783" y="723"/>
                    </a:lnTo>
                    <a:lnTo>
                      <a:pt x="833" y="337"/>
                    </a:lnTo>
                    <a:lnTo>
                      <a:pt x="866" y="105"/>
                    </a:lnTo>
                    <a:lnTo>
                      <a:pt x="684" y="77"/>
                    </a:lnTo>
                    <a:lnTo>
                      <a:pt x="485" y="44"/>
                    </a:lnTo>
                    <a:lnTo>
                      <a:pt x="237" y="0"/>
                    </a:lnTo>
                    <a:lnTo>
                      <a:pt x="215" y="133"/>
                    </a:lnTo>
                    <a:lnTo>
                      <a:pt x="215" y="138"/>
                    </a:lnTo>
                    <a:lnTo>
                      <a:pt x="204" y="155"/>
                    </a:lnTo>
                    <a:lnTo>
                      <a:pt x="182" y="155"/>
                    </a:lnTo>
                    <a:lnTo>
                      <a:pt x="176" y="133"/>
                    </a:lnTo>
                    <a:lnTo>
                      <a:pt x="154" y="133"/>
                    </a:lnTo>
                    <a:lnTo>
                      <a:pt x="149" y="122"/>
                    </a:lnTo>
                    <a:lnTo>
                      <a:pt x="138" y="122"/>
                    </a:lnTo>
                    <a:lnTo>
                      <a:pt x="132" y="127"/>
                    </a:lnTo>
                    <a:lnTo>
                      <a:pt x="121" y="133"/>
                    </a:lnTo>
                    <a:lnTo>
                      <a:pt x="116" y="188"/>
                    </a:lnTo>
                    <a:lnTo>
                      <a:pt x="116" y="199"/>
                    </a:lnTo>
                    <a:lnTo>
                      <a:pt x="110" y="293"/>
                    </a:lnTo>
                    <a:lnTo>
                      <a:pt x="99" y="309"/>
                    </a:lnTo>
                    <a:lnTo>
                      <a:pt x="99" y="331"/>
                    </a:lnTo>
                    <a:lnTo>
                      <a:pt x="116" y="370"/>
                    </a:lnTo>
                    <a:lnTo>
                      <a:pt x="127" y="409"/>
                    </a:lnTo>
                    <a:lnTo>
                      <a:pt x="132" y="420"/>
                    </a:lnTo>
                    <a:lnTo>
                      <a:pt x="138" y="425"/>
                    </a:lnTo>
                    <a:lnTo>
                      <a:pt x="138" y="442"/>
                    </a:lnTo>
                    <a:lnTo>
                      <a:pt x="127" y="447"/>
                    </a:lnTo>
                    <a:lnTo>
                      <a:pt x="105" y="464"/>
                    </a:lnTo>
                    <a:lnTo>
                      <a:pt x="88" y="475"/>
                    </a:lnTo>
                    <a:lnTo>
                      <a:pt x="77" y="502"/>
                    </a:lnTo>
                    <a:lnTo>
                      <a:pt x="72" y="541"/>
                    </a:lnTo>
                    <a:lnTo>
                      <a:pt x="50" y="557"/>
                    </a:lnTo>
                    <a:lnTo>
                      <a:pt x="39" y="563"/>
                    </a:lnTo>
                    <a:lnTo>
                      <a:pt x="39" y="607"/>
                    </a:lnTo>
                    <a:lnTo>
                      <a:pt x="33" y="618"/>
                    </a:lnTo>
                    <a:lnTo>
                      <a:pt x="39" y="624"/>
                    </a:lnTo>
                    <a:lnTo>
                      <a:pt x="61" y="629"/>
                    </a:lnTo>
                    <a:lnTo>
                      <a:pt x="61" y="651"/>
                    </a:lnTo>
                    <a:lnTo>
                      <a:pt x="50" y="668"/>
                    </a:lnTo>
                    <a:lnTo>
                      <a:pt x="22" y="673"/>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9" name="Freeform 35">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0" name="Freeform 36">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1" name="Freeform 37">
                <a:extLst/>
              </p:cNvPr>
              <p:cNvSpPr>
                <a:spLocks/>
              </p:cNvSpPr>
              <p:nvPr/>
            </p:nvSpPr>
            <p:spPr bwMode="auto">
              <a:xfrm>
                <a:off x="2459038" y="2128838"/>
                <a:ext cx="1120775" cy="1419225"/>
              </a:xfrm>
              <a:custGeom>
                <a:avLst/>
                <a:gdLst>
                  <a:gd name="T0" fmla="*/ 623 w 706"/>
                  <a:gd name="T1" fmla="*/ 894 h 894"/>
                  <a:gd name="T2" fmla="*/ 441 w 706"/>
                  <a:gd name="T3" fmla="*/ 866 h 894"/>
                  <a:gd name="T4" fmla="*/ 248 w 706"/>
                  <a:gd name="T5" fmla="*/ 833 h 894"/>
                  <a:gd name="T6" fmla="*/ 0 w 706"/>
                  <a:gd name="T7" fmla="*/ 789 h 894"/>
                  <a:gd name="T8" fmla="*/ 11 w 706"/>
                  <a:gd name="T9" fmla="*/ 717 h 894"/>
                  <a:gd name="T10" fmla="*/ 33 w 706"/>
                  <a:gd name="T11" fmla="*/ 607 h 894"/>
                  <a:gd name="T12" fmla="*/ 60 w 706"/>
                  <a:gd name="T13" fmla="*/ 485 h 894"/>
                  <a:gd name="T14" fmla="*/ 77 w 706"/>
                  <a:gd name="T15" fmla="*/ 386 h 894"/>
                  <a:gd name="T16" fmla="*/ 88 w 706"/>
                  <a:gd name="T17" fmla="*/ 320 h 894"/>
                  <a:gd name="T18" fmla="*/ 115 w 706"/>
                  <a:gd name="T19" fmla="*/ 171 h 894"/>
                  <a:gd name="T20" fmla="*/ 143 w 706"/>
                  <a:gd name="T21" fmla="*/ 38 h 894"/>
                  <a:gd name="T22" fmla="*/ 149 w 706"/>
                  <a:gd name="T23" fmla="*/ 0 h 894"/>
                  <a:gd name="T24" fmla="*/ 242 w 706"/>
                  <a:gd name="T25" fmla="*/ 16 h 894"/>
                  <a:gd name="T26" fmla="*/ 331 w 706"/>
                  <a:gd name="T27" fmla="*/ 33 h 894"/>
                  <a:gd name="T28" fmla="*/ 408 w 706"/>
                  <a:gd name="T29" fmla="*/ 44 h 894"/>
                  <a:gd name="T30" fmla="*/ 468 w 706"/>
                  <a:gd name="T31" fmla="*/ 55 h 894"/>
                  <a:gd name="T32" fmla="*/ 496 w 706"/>
                  <a:gd name="T33" fmla="*/ 60 h 894"/>
                  <a:gd name="T34" fmla="*/ 485 w 706"/>
                  <a:gd name="T35" fmla="*/ 138 h 894"/>
                  <a:gd name="T36" fmla="*/ 468 w 706"/>
                  <a:gd name="T37" fmla="*/ 232 h 894"/>
                  <a:gd name="T38" fmla="*/ 529 w 706"/>
                  <a:gd name="T39" fmla="*/ 243 h 894"/>
                  <a:gd name="T40" fmla="*/ 645 w 706"/>
                  <a:gd name="T41" fmla="*/ 254 h 894"/>
                  <a:gd name="T42" fmla="*/ 706 w 706"/>
                  <a:gd name="T43" fmla="*/ 259 h 894"/>
                  <a:gd name="T44" fmla="*/ 689 w 706"/>
                  <a:gd name="T45" fmla="*/ 419 h 894"/>
                  <a:gd name="T46" fmla="*/ 667 w 706"/>
                  <a:gd name="T47" fmla="*/ 585 h 894"/>
                  <a:gd name="T48" fmla="*/ 639 w 706"/>
                  <a:gd name="T49" fmla="*/ 794 h 894"/>
                  <a:gd name="T50" fmla="*/ 628 w 706"/>
                  <a:gd name="T51" fmla="*/ 871 h 894"/>
                  <a:gd name="T52" fmla="*/ 623 w 706"/>
                  <a:gd name="T53" fmla="*/ 89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6" h="894">
                    <a:moveTo>
                      <a:pt x="623" y="894"/>
                    </a:moveTo>
                    <a:lnTo>
                      <a:pt x="441" y="866"/>
                    </a:lnTo>
                    <a:lnTo>
                      <a:pt x="248" y="833"/>
                    </a:lnTo>
                    <a:lnTo>
                      <a:pt x="0" y="789"/>
                    </a:lnTo>
                    <a:lnTo>
                      <a:pt x="11" y="717"/>
                    </a:lnTo>
                    <a:lnTo>
                      <a:pt x="33" y="607"/>
                    </a:lnTo>
                    <a:lnTo>
                      <a:pt x="60" y="485"/>
                    </a:lnTo>
                    <a:lnTo>
                      <a:pt x="77" y="386"/>
                    </a:lnTo>
                    <a:lnTo>
                      <a:pt x="88" y="320"/>
                    </a:lnTo>
                    <a:lnTo>
                      <a:pt x="115" y="171"/>
                    </a:lnTo>
                    <a:lnTo>
                      <a:pt x="143" y="38"/>
                    </a:lnTo>
                    <a:lnTo>
                      <a:pt x="149" y="0"/>
                    </a:lnTo>
                    <a:lnTo>
                      <a:pt x="242" y="16"/>
                    </a:lnTo>
                    <a:lnTo>
                      <a:pt x="331" y="33"/>
                    </a:lnTo>
                    <a:lnTo>
                      <a:pt x="408" y="44"/>
                    </a:lnTo>
                    <a:lnTo>
                      <a:pt x="468" y="55"/>
                    </a:lnTo>
                    <a:lnTo>
                      <a:pt x="496" y="60"/>
                    </a:lnTo>
                    <a:lnTo>
                      <a:pt x="485" y="138"/>
                    </a:lnTo>
                    <a:lnTo>
                      <a:pt x="468" y="232"/>
                    </a:lnTo>
                    <a:lnTo>
                      <a:pt x="529" y="243"/>
                    </a:lnTo>
                    <a:lnTo>
                      <a:pt x="645" y="254"/>
                    </a:lnTo>
                    <a:lnTo>
                      <a:pt x="706" y="259"/>
                    </a:lnTo>
                    <a:lnTo>
                      <a:pt x="689" y="419"/>
                    </a:lnTo>
                    <a:lnTo>
                      <a:pt x="667" y="585"/>
                    </a:lnTo>
                    <a:lnTo>
                      <a:pt x="639" y="794"/>
                    </a:lnTo>
                    <a:lnTo>
                      <a:pt x="628" y="871"/>
                    </a:lnTo>
                    <a:lnTo>
                      <a:pt x="623" y="89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2" name="Freeform 38">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 name="T30" fmla="*/ 915 w 926"/>
                  <a:gd name="T31" fmla="*/ 24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lnTo>
                      <a:pt x="915" y="248"/>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3" name="Freeform 39">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4" name="Freeform 40">
                <a:extLst/>
              </p:cNvPr>
              <p:cNvSpPr>
                <a:spLocks/>
              </p:cNvSpPr>
              <p:nvPr/>
            </p:nvSpPr>
            <p:spPr bwMode="auto">
              <a:xfrm>
                <a:off x="3263900" y="3565525"/>
                <a:ext cx="1409700" cy="1470025"/>
              </a:xfrm>
              <a:custGeom>
                <a:avLst/>
                <a:gdLst>
                  <a:gd name="T0" fmla="*/ 336 w 888"/>
                  <a:gd name="T1" fmla="*/ 882 h 926"/>
                  <a:gd name="T2" fmla="*/ 331 w 888"/>
                  <a:gd name="T3" fmla="*/ 838 h 926"/>
                  <a:gd name="T4" fmla="*/ 397 w 888"/>
                  <a:gd name="T5" fmla="*/ 844 h 926"/>
                  <a:gd name="T6" fmla="*/ 612 w 888"/>
                  <a:gd name="T7" fmla="*/ 866 h 926"/>
                  <a:gd name="T8" fmla="*/ 822 w 888"/>
                  <a:gd name="T9" fmla="*/ 877 h 926"/>
                  <a:gd name="T10" fmla="*/ 833 w 888"/>
                  <a:gd name="T11" fmla="*/ 711 h 926"/>
                  <a:gd name="T12" fmla="*/ 860 w 888"/>
                  <a:gd name="T13" fmla="*/ 298 h 926"/>
                  <a:gd name="T14" fmla="*/ 871 w 888"/>
                  <a:gd name="T15" fmla="*/ 154 h 926"/>
                  <a:gd name="T16" fmla="*/ 888 w 888"/>
                  <a:gd name="T17" fmla="*/ 160 h 926"/>
                  <a:gd name="T18" fmla="*/ 888 w 888"/>
                  <a:gd name="T19" fmla="*/ 77 h 926"/>
                  <a:gd name="T20" fmla="*/ 651 w 888"/>
                  <a:gd name="T21" fmla="*/ 60 h 926"/>
                  <a:gd name="T22" fmla="*/ 375 w 888"/>
                  <a:gd name="T23" fmla="*/ 27 h 926"/>
                  <a:gd name="T24" fmla="*/ 121 w 888"/>
                  <a:gd name="T25" fmla="*/ 0 h 926"/>
                  <a:gd name="T26" fmla="*/ 94 w 888"/>
                  <a:gd name="T27" fmla="*/ 226 h 926"/>
                  <a:gd name="T28" fmla="*/ 44 w 888"/>
                  <a:gd name="T29" fmla="*/ 618 h 926"/>
                  <a:gd name="T30" fmla="*/ 17 w 888"/>
                  <a:gd name="T31" fmla="*/ 811 h 926"/>
                  <a:gd name="T32" fmla="*/ 0 w 888"/>
                  <a:gd name="T33" fmla="*/ 910 h 926"/>
                  <a:gd name="T34" fmla="*/ 110 w 888"/>
                  <a:gd name="T35" fmla="*/ 926 h 926"/>
                  <a:gd name="T36" fmla="*/ 121 w 888"/>
                  <a:gd name="T37" fmla="*/ 849 h 926"/>
                  <a:gd name="T38" fmla="*/ 243 w 888"/>
                  <a:gd name="T39" fmla="*/ 871 h 926"/>
                  <a:gd name="T40" fmla="*/ 336 w 888"/>
                  <a:gd name="T41" fmla="*/ 882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8" h="926">
                    <a:moveTo>
                      <a:pt x="336" y="882"/>
                    </a:moveTo>
                    <a:lnTo>
                      <a:pt x="331" y="838"/>
                    </a:lnTo>
                    <a:lnTo>
                      <a:pt x="397" y="844"/>
                    </a:lnTo>
                    <a:lnTo>
                      <a:pt x="612" y="866"/>
                    </a:lnTo>
                    <a:lnTo>
                      <a:pt x="822" y="877"/>
                    </a:lnTo>
                    <a:lnTo>
                      <a:pt x="833" y="711"/>
                    </a:lnTo>
                    <a:lnTo>
                      <a:pt x="860" y="298"/>
                    </a:lnTo>
                    <a:lnTo>
                      <a:pt x="871" y="154"/>
                    </a:lnTo>
                    <a:lnTo>
                      <a:pt x="888" y="160"/>
                    </a:lnTo>
                    <a:lnTo>
                      <a:pt x="888" y="77"/>
                    </a:lnTo>
                    <a:lnTo>
                      <a:pt x="651" y="60"/>
                    </a:lnTo>
                    <a:lnTo>
                      <a:pt x="375" y="27"/>
                    </a:lnTo>
                    <a:lnTo>
                      <a:pt x="121" y="0"/>
                    </a:lnTo>
                    <a:lnTo>
                      <a:pt x="94" y="226"/>
                    </a:lnTo>
                    <a:lnTo>
                      <a:pt x="44" y="618"/>
                    </a:lnTo>
                    <a:lnTo>
                      <a:pt x="17" y="811"/>
                    </a:lnTo>
                    <a:lnTo>
                      <a:pt x="0" y="910"/>
                    </a:lnTo>
                    <a:lnTo>
                      <a:pt x="110" y="926"/>
                    </a:lnTo>
                    <a:lnTo>
                      <a:pt x="121" y="849"/>
                    </a:lnTo>
                    <a:lnTo>
                      <a:pt x="243" y="871"/>
                    </a:lnTo>
                    <a:lnTo>
                      <a:pt x="336" y="88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5" name="Freeform 41">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 name="T116" fmla="*/ 839 w 1026"/>
                  <a:gd name="T117" fmla="*/ 855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lnTo>
                      <a:pt x="839" y="855"/>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6" name="Freeform 42">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7" name="Freeform 43">
                <a:extLst/>
              </p:cNvPr>
              <p:cNvSpPr>
                <a:spLocks/>
              </p:cNvSpPr>
              <p:nvPr/>
            </p:nvSpPr>
            <p:spPr bwMode="auto">
              <a:xfrm>
                <a:off x="4673600" y="595313"/>
                <a:ext cx="1322388" cy="831850"/>
              </a:xfrm>
              <a:custGeom>
                <a:avLst/>
                <a:gdLst>
                  <a:gd name="T0" fmla="*/ 833 w 833"/>
                  <a:gd name="T1" fmla="*/ 524 h 524"/>
                  <a:gd name="T2" fmla="*/ 833 w 833"/>
                  <a:gd name="T3" fmla="*/ 469 h 524"/>
                  <a:gd name="T4" fmla="*/ 816 w 833"/>
                  <a:gd name="T5" fmla="*/ 414 h 524"/>
                  <a:gd name="T6" fmla="*/ 805 w 833"/>
                  <a:gd name="T7" fmla="*/ 315 h 524"/>
                  <a:gd name="T8" fmla="*/ 799 w 833"/>
                  <a:gd name="T9" fmla="*/ 243 h 524"/>
                  <a:gd name="T10" fmla="*/ 788 w 833"/>
                  <a:gd name="T11" fmla="*/ 215 h 524"/>
                  <a:gd name="T12" fmla="*/ 772 w 833"/>
                  <a:gd name="T13" fmla="*/ 177 h 524"/>
                  <a:gd name="T14" fmla="*/ 772 w 833"/>
                  <a:gd name="T15" fmla="*/ 105 h 524"/>
                  <a:gd name="T16" fmla="*/ 777 w 833"/>
                  <a:gd name="T17" fmla="*/ 72 h 524"/>
                  <a:gd name="T18" fmla="*/ 766 w 833"/>
                  <a:gd name="T19" fmla="*/ 33 h 524"/>
                  <a:gd name="T20" fmla="*/ 557 w 833"/>
                  <a:gd name="T21" fmla="*/ 28 h 524"/>
                  <a:gd name="T22" fmla="*/ 419 w 833"/>
                  <a:gd name="T23" fmla="*/ 22 h 524"/>
                  <a:gd name="T24" fmla="*/ 220 w 833"/>
                  <a:gd name="T25" fmla="*/ 17 h 524"/>
                  <a:gd name="T26" fmla="*/ 38 w 833"/>
                  <a:gd name="T27" fmla="*/ 0 h 524"/>
                  <a:gd name="T28" fmla="*/ 33 w 833"/>
                  <a:gd name="T29" fmla="*/ 105 h 524"/>
                  <a:gd name="T30" fmla="*/ 22 w 833"/>
                  <a:gd name="T31" fmla="*/ 215 h 524"/>
                  <a:gd name="T32" fmla="*/ 5 w 833"/>
                  <a:gd name="T33" fmla="*/ 398 h 524"/>
                  <a:gd name="T34" fmla="*/ 0 w 833"/>
                  <a:gd name="T35" fmla="*/ 480 h 524"/>
                  <a:gd name="T36" fmla="*/ 419 w 833"/>
                  <a:gd name="T37" fmla="*/ 508 h 524"/>
                  <a:gd name="T38" fmla="*/ 833 w 833"/>
                  <a:gd name="T39" fmla="*/ 52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3" h="524">
                    <a:moveTo>
                      <a:pt x="833" y="524"/>
                    </a:moveTo>
                    <a:lnTo>
                      <a:pt x="833" y="469"/>
                    </a:lnTo>
                    <a:lnTo>
                      <a:pt x="816" y="414"/>
                    </a:lnTo>
                    <a:lnTo>
                      <a:pt x="805" y="315"/>
                    </a:lnTo>
                    <a:lnTo>
                      <a:pt x="799" y="243"/>
                    </a:lnTo>
                    <a:lnTo>
                      <a:pt x="788" y="215"/>
                    </a:lnTo>
                    <a:lnTo>
                      <a:pt x="772" y="177"/>
                    </a:lnTo>
                    <a:lnTo>
                      <a:pt x="772" y="105"/>
                    </a:lnTo>
                    <a:lnTo>
                      <a:pt x="777" y="72"/>
                    </a:lnTo>
                    <a:lnTo>
                      <a:pt x="766" y="33"/>
                    </a:lnTo>
                    <a:lnTo>
                      <a:pt x="557" y="28"/>
                    </a:lnTo>
                    <a:lnTo>
                      <a:pt x="419" y="22"/>
                    </a:lnTo>
                    <a:lnTo>
                      <a:pt x="220" y="17"/>
                    </a:lnTo>
                    <a:lnTo>
                      <a:pt x="38" y="0"/>
                    </a:lnTo>
                    <a:lnTo>
                      <a:pt x="33" y="105"/>
                    </a:lnTo>
                    <a:lnTo>
                      <a:pt x="22" y="215"/>
                    </a:lnTo>
                    <a:lnTo>
                      <a:pt x="5" y="398"/>
                    </a:lnTo>
                    <a:lnTo>
                      <a:pt x="0" y="480"/>
                    </a:lnTo>
                    <a:lnTo>
                      <a:pt x="419" y="508"/>
                    </a:lnTo>
                    <a:lnTo>
                      <a:pt x="833" y="52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8" name="Freeform 44">
                <a:extLst/>
              </p:cNvPr>
              <p:cNvSpPr>
                <a:spLocks/>
              </p:cNvSpPr>
              <p:nvPr/>
            </p:nvSpPr>
            <p:spPr bwMode="auto">
              <a:xfrm>
                <a:off x="4611688" y="1366838"/>
                <a:ext cx="1409700" cy="946150"/>
              </a:xfrm>
              <a:custGeom>
                <a:avLst/>
                <a:gdLst>
                  <a:gd name="T0" fmla="*/ 883 w 888"/>
                  <a:gd name="T1" fmla="*/ 590 h 596"/>
                  <a:gd name="T2" fmla="*/ 877 w 888"/>
                  <a:gd name="T3" fmla="*/ 585 h 596"/>
                  <a:gd name="T4" fmla="*/ 866 w 888"/>
                  <a:gd name="T5" fmla="*/ 557 h 596"/>
                  <a:gd name="T6" fmla="*/ 883 w 888"/>
                  <a:gd name="T7" fmla="*/ 529 h 596"/>
                  <a:gd name="T8" fmla="*/ 888 w 888"/>
                  <a:gd name="T9" fmla="*/ 491 h 596"/>
                  <a:gd name="T10" fmla="*/ 866 w 888"/>
                  <a:gd name="T11" fmla="*/ 474 h 596"/>
                  <a:gd name="T12" fmla="*/ 866 w 888"/>
                  <a:gd name="T13" fmla="*/ 452 h 596"/>
                  <a:gd name="T14" fmla="*/ 872 w 888"/>
                  <a:gd name="T15" fmla="*/ 430 h 596"/>
                  <a:gd name="T16" fmla="*/ 888 w 888"/>
                  <a:gd name="T17" fmla="*/ 425 h 596"/>
                  <a:gd name="T18" fmla="*/ 888 w 888"/>
                  <a:gd name="T19" fmla="*/ 386 h 596"/>
                  <a:gd name="T20" fmla="*/ 888 w 888"/>
                  <a:gd name="T21" fmla="*/ 160 h 596"/>
                  <a:gd name="T22" fmla="*/ 883 w 888"/>
                  <a:gd name="T23" fmla="*/ 138 h 596"/>
                  <a:gd name="T24" fmla="*/ 855 w 888"/>
                  <a:gd name="T25" fmla="*/ 116 h 596"/>
                  <a:gd name="T26" fmla="*/ 844 w 888"/>
                  <a:gd name="T27" fmla="*/ 99 h 596"/>
                  <a:gd name="T28" fmla="*/ 844 w 888"/>
                  <a:gd name="T29" fmla="*/ 83 h 596"/>
                  <a:gd name="T30" fmla="*/ 861 w 888"/>
                  <a:gd name="T31" fmla="*/ 77 h 596"/>
                  <a:gd name="T32" fmla="*/ 872 w 888"/>
                  <a:gd name="T33" fmla="*/ 60 h 596"/>
                  <a:gd name="T34" fmla="*/ 872 w 888"/>
                  <a:gd name="T35" fmla="*/ 44 h 596"/>
                  <a:gd name="T36" fmla="*/ 452 w 888"/>
                  <a:gd name="T37" fmla="*/ 27 h 596"/>
                  <a:gd name="T38" fmla="*/ 39 w 888"/>
                  <a:gd name="T39" fmla="*/ 0 h 596"/>
                  <a:gd name="T40" fmla="*/ 33 w 888"/>
                  <a:gd name="T41" fmla="*/ 38 h 596"/>
                  <a:gd name="T42" fmla="*/ 22 w 888"/>
                  <a:gd name="T43" fmla="*/ 160 h 596"/>
                  <a:gd name="T44" fmla="*/ 11 w 888"/>
                  <a:gd name="T45" fmla="*/ 287 h 596"/>
                  <a:gd name="T46" fmla="*/ 0 w 888"/>
                  <a:gd name="T47" fmla="*/ 469 h 596"/>
                  <a:gd name="T48" fmla="*/ 116 w 888"/>
                  <a:gd name="T49" fmla="*/ 480 h 596"/>
                  <a:gd name="T50" fmla="*/ 259 w 888"/>
                  <a:gd name="T51" fmla="*/ 485 h 596"/>
                  <a:gd name="T52" fmla="*/ 392 w 888"/>
                  <a:gd name="T53" fmla="*/ 496 h 596"/>
                  <a:gd name="T54" fmla="*/ 568 w 888"/>
                  <a:gd name="T55" fmla="*/ 507 h 596"/>
                  <a:gd name="T56" fmla="*/ 645 w 888"/>
                  <a:gd name="T57" fmla="*/ 502 h 596"/>
                  <a:gd name="T58" fmla="*/ 668 w 888"/>
                  <a:gd name="T59" fmla="*/ 518 h 596"/>
                  <a:gd name="T60" fmla="*/ 701 w 888"/>
                  <a:gd name="T61" fmla="*/ 540 h 596"/>
                  <a:gd name="T62" fmla="*/ 706 w 888"/>
                  <a:gd name="T63" fmla="*/ 546 h 596"/>
                  <a:gd name="T64" fmla="*/ 734 w 888"/>
                  <a:gd name="T65" fmla="*/ 535 h 596"/>
                  <a:gd name="T66" fmla="*/ 761 w 888"/>
                  <a:gd name="T67" fmla="*/ 535 h 596"/>
                  <a:gd name="T68" fmla="*/ 783 w 888"/>
                  <a:gd name="T69" fmla="*/ 535 h 596"/>
                  <a:gd name="T70" fmla="*/ 805 w 888"/>
                  <a:gd name="T71" fmla="*/ 546 h 596"/>
                  <a:gd name="T72" fmla="*/ 838 w 888"/>
                  <a:gd name="T73" fmla="*/ 552 h 596"/>
                  <a:gd name="T74" fmla="*/ 861 w 888"/>
                  <a:gd name="T75" fmla="*/ 568 h 596"/>
                  <a:gd name="T76" fmla="*/ 866 w 888"/>
                  <a:gd name="T77" fmla="*/ 579 h 596"/>
                  <a:gd name="T78" fmla="*/ 872 w 888"/>
                  <a:gd name="T79" fmla="*/ 596 h 596"/>
                  <a:gd name="T80" fmla="*/ 877 w 888"/>
                  <a:gd name="T81" fmla="*/ 590 h 596"/>
                  <a:gd name="T82" fmla="*/ 883 w 888"/>
                  <a:gd name="T83" fmla="*/ 59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8" h="596">
                    <a:moveTo>
                      <a:pt x="883" y="590"/>
                    </a:moveTo>
                    <a:lnTo>
                      <a:pt x="877" y="585"/>
                    </a:lnTo>
                    <a:lnTo>
                      <a:pt x="866" y="557"/>
                    </a:lnTo>
                    <a:lnTo>
                      <a:pt x="883" y="529"/>
                    </a:lnTo>
                    <a:lnTo>
                      <a:pt x="888" y="491"/>
                    </a:lnTo>
                    <a:lnTo>
                      <a:pt x="866" y="474"/>
                    </a:lnTo>
                    <a:lnTo>
                      <a:pt x="866" y="452"/>
                    </a:lnTo>
                    <a:lnTo>
                      <a:pt x="872" y="430"/>
                    </a:lnTo>
                    <a:lnTo>
                      <a:pt x="888" y="425"/>
                    </a:lnTo>
                    <a:lnTo>
                      <a:pt x="888" y="386"/>
                    </a:lnTo>
                    <a:lnTo>
                      <a:pt x="888" y="160"/>
                    </a:lnTo>
                    <a:lnTo>
                      <a:pt x="883" y="138"/>
                    </a:lnTo>
                    <a:lnTo>
                      <a:pt x="855" y="116"/>
                    </a:lnTo>
                    <a:lnTo>
                      <a:pt x="844" y="99"/>
                    </a:lnTo>
                    <a:lnTo>
                      <a:pt x="844" y="83"/>
                    </a:lnTo>
                    <a:lnTo>
                      <a:pt x="861" y="77"/>
                    </a:lnTo>
                    <a:lnTo>
                      <a:pt x="872" y="60"/>
                    </a:lnTo>
                    <a:lnTo>
                      <a:pt x="872" y="44"/>
                    </a:lnTo>
                    <a:lnTo>
                      <a:pt x="452" y="27"/>
                    </a:lnTo>
                    <a:lnTo>
                      <a:pt x="39" y="0"/>
                    </a:lnTo>
                    <a:lnTo>
                      <a:pt x="33" y="38"/>
                    </a:lnTo>
                    <a:lnTo>
                      <a:pt x="22" y="160"/>
                    </a:lnTo>
                    <a:lnTo>
                      <a:pt x="11" y="287"/>
                    </a:lnTo>
                    <a:lnTo>
                      <a:pt x="0" y="469"/>
                    </a:lnTo>
                    <a:lnTo>
                      <a:pt x="116" y="480"/>
                    </a:lnTo>
                    <a:lnTo>
                      <a:pt x="259" y="485"/>
                    </a:lnTo>
                    <a:lnTo>
                      <a:pt x="392" y="496"/>
                    </a:lnTo>
                    <a:lnTo>
                      <a:pt x="568" y="507"/>
                    </a:lnTo>
                    <a:lnTo>
                      <a:pt x="645" y="502"/>
                    </a:lnTo>
                    <a:lnTo>
                      <a:pt x="668" y="518"/>
                    </a:lnTo>
                    <a:lnTo>
                      <a:pt x="701" y="540"/>
                    </a:lnTo>
                    <a:lnTo>
                      <a:pt x="706" y="546"/>
                    </a:lnTo>
                    <a:lnTo>
                      <a:pt x="734" y="535"/>
                    </a:lnTo>
                    <a:lnTo>
                      <a:pt x="761" y="535"/>
                    </a:lnTo>
                    <a:lnTo>
                      <a:pt x="783" y="535"/>
                    </a:lnTo>
                    <a:lnTo>
                      <a:pt x="805" y="546"/>
                    </a:lnTo>
                    <a:lnTo>
                      <a:pt x="838" y="552"/>
                    </a:lnTo>
                    <a:lnTo>
                      <a:pt x="861" y="568"/>
                    </a:lnTo>
                    <a:lnTo>
                      <a:pt x="866" y="579"/>
                    </a:lnTo>
                    <a:lnTo>
                      <a:pt x="872" y="596"/>
                    </a:lnTo>
                    <a:lnTo>
                      <a:pt x="877" y="590"/>
                    </a:lnTo>
                    <a:lnTo>
                      <a:pt x="883" y="59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9" name="Freeform 45">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 name="T74" fmla="*/ 1004 w 1048"/>
                  <a:gd name="T75" fmla="*/ 436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lnTo>
                      <a:pt x="1004" y="436"/>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70" name="Freeform 46">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71" name="Freeform 47">
                <a:extLst/>
              </p:cNvPr>
              <p:cNvSpPr>
                <a:spLocks/>
              </p:cNvSpPr>
              <p:nvPr/>
            </p:nvSpPr>
            <p:spPr bwMode="auto">
              <a:xfrm>
                <a:off x="5995988" y="2041525"/>
                <a:ext cx="1216025" cy="796925"/>
              </a:xfrm>
              <a:custGeom>
                <a:avLst/>
                <a:gdLst>
                  <a:gd name="T0" fmla="*/ 700 w 766"/>
                  <a:gd name="T1" fmla="*/ 154 h 502"/>
                  <a:gd name="T2" fmla="*/ 705 w 766"/>
                  <a:gd name="T3" fmla="*/ 171 h 502"/>
                  <a:gd name="T4" fmla="*/ 722 w 766"/>
                  <a:gd name="T5" fmla="*/ 176 h 502"/>
                  <a:gd name="T6" fmla="*/ 728 w 766"/>
                  <a:gd name="T7" fmla="*/ 187 h 502"/>
                  <a:gd name="T8" fmla="*/ 733 w 766"/>
                  <a:gd name="T9" fmla="*/ 198 h 502"/>
                  <a:gd name="T10" fmla="*/ 761 w 766"/>
                  <a:gd name="T11" fmla="*/ 220 h 502"/>
                  <a:gd name="T12" fmla="*/ 766 w 766"/>
                  <a:gd name="T13" fmla="*/ 237 h 502"/>
                  <a:gd name="T14" fmla="*/ 761 w 766"/>
                  <a:gd name="T15" fmla="*/ 259 h 502"/>
                  <a:gd name="T16" fmla="*/ 750 w 766"/>
                  <a:gd name="T17" fmla="*/ 281 h 502"/>
                  <a:gd name="T18" fmla="*/ 744 w 766"/>
                  <a:gd name="T19" fmla="*/ 303 h 502"/>
                  <a:gd name="T20" fmla="*/ 728 w 766"/>
                  <a:gd name="T21" fmla="*/ 314 h 502"/>
                  <a:gd name="T22" fmla="*/ 716 w 766"/>
                  <a:gd name="T23" fmla="*/ 320 h 502"/>
                  <a:gd name="T24" fmla="*/ 672 w 766"/>
                  <a:gd name="T25" fmla="*/ 331 h 502"/>
                  <a:gd name="T26" fmla="*/ 667 w 766"/>
                  <a:gd name="T27" fmla="*/ 347 h 502"/>
                  <a:gd name="T28" fmla="*/ 661 w 766"/>
                  <a:gd name="T29" fmla="*/ 364 h 502"/>
                  <a:gd name="T30" fmla="*/ 667 w 766"/>
                  <a:gd name="T31" fmla="*/ 375 h 502"/>
                  <a:gd name="T32" fmla="*/ 678 w 766"/>
                  <a:gd name="T33" fmla="*/ 386 h 502"/>
                  <a:gd name="T34" fmla="*/ 678 w 766"/>
                  <a:gd name="T35" fmla="*/ 413 h 502"/>
                  <a:gd name="T36" fmla="*/ 661 w 766"/>
                  <a:gd name="T37" fmla="*/ 424 h 502"/>
                  <a:gd name="T38" fmla="*/ 661 w 766"/>
                  <a:gd name="T39" fmla="*/ 435 h 502"/>
                  <a:gd name="T40" fmla="*/ 661 w 766"/>
                  <a:gd name="T41" fmla="*/ 452 h 502"/>
                  <a:gd name="T42" fmla="*/ 650 w 766"/>
                  <a:gd name="T43" fmla="*/ 458 h 502"/>
                  <a:gd name="T44" fmla="*/ 634 w 766"/>
                  <a:gd name="T45" fmla="*/ 469 h 502"/>
                  <a:gd name="T46" fmla="*/ 634 w 766"/>
                  <a:gd name="T47" fmla="*/ 480 h 502"/>
                  <a:gd name="T48" fmla="*/ 634 w 766"/>
                  <a:gd name="T49" fmla="*/ 491 h 502"/>
                  <a:gd name="T50" fmla="*/ 628 w 766"/>
                  <a:gd name="T51" fmla="*/ 502 h 502"/>
                  <a:gd name="T52" fmla="*/ 612 w 766"/>
                  <a:gd name="T53" fmla="*/ 480 h 502"/>
                  <a:gd name="T54" fmla="*/ 601 w 766"/>
                  <a:gd name="T55" fmla="*/ 463 h 502"/>
                  <a:gd name="T56" fmla="*/ 540 w 766"/>
                  <a:gd name="T57" fmla="*/ 469 h 502"/>
                  <a:gd name="T58" fmla="*/ 463 w 766"/>
                  <a:gd name="T59" fmla="*/ 469 h 502"/>
                  <a:gd name="T60" fmla="*/ 281 w 766"/>
                  <a:gd name="T61" fmla="*/ 474 h 502"/>
                  <a:gd name="T62" fmla="*/ 182 w 766"/>
                  <a:gd name="T63" fmla="*/ 480 h 502"/>
                  <a:gd name="T64" fmla="*/ 115 w 766"/>
                  <a:gd name="T65" fmla="*/ 480 h 502"/>
                  <a:gd name="T66" fmla="*/ 104 w 766"/>
                  <a:gd name="T67" fmla="*/ 480 h 502"/>
                  <a:gd name="T68" fmla="*/ 93 w 766"/>
                  <a:gd name="T69" fmla="*/ 447 h 502"/>
                  <a:gd name="T70" fmla="*/ 88 w 766"/>
                  <a:gd name="T71" fmla="*/ 397 h 502"/>
                  <a:gd name="T72" fmla="*/ 77 w 766"/>
                  <a:gd name="T73" fmla="*/ 369 h 502"/>
                  <a:gd name="T74" fmla="*/ 71 w 766"/>
                  <a:gd name="T75" fmla="*/ 331 h 502"/>
                  <a:gd name="T76" fmla="*/ 55 w 766"/>
                  <a:gd name="T77" fmla="*/ 303 h 502"/>
                  <a:gd name="T78" fmla="*/ 49 w 766"/>
                  <a:gd name="T79" fmla="*/ 270 h 502"/>
                  <a:gd name="T80" fmla="*/ 27 w 766"/>
                  <a:gd name="T81" fmla="*/ 215 h 502"/>
                  <a:gd name="T82" fmla="*/ 22 w 766"/>
                  <a:gd name="T83" fmla="*/ 171 h 502"/>
                  <a:gd name="T84" fmla="*/ 11 w 766"/>
                  <a:gd name="T85" fmla="*/ 154 h 502"/>
                  <a:gd name="T86" fmla="*/ 0 w 766"/>
                  <a:gd name="T87" fmla="*/ 138 h 502"/>
                  <a:gd name="T88" fmla="*/ 11 w 766"/>
                  <a:gd name="T89" fmla="*/ 104 h 502"/>
                  <a:gd name="T90" fmla="*/ 22 w 766"/>
                  <a:gd name="T91" fmla="*/ 60 h 502"/>
                  <a:gd name="T92" fmla="*/ 5 w 766"/>
                  <a:gd name="T93" fmla="*/ 49 h 502"/>
                  <a:gd name="T94" fmla="*/ 0 w 766"/>
                  <a:gd name="T95" fmla="*/ 27 h 502"/>
                  <a:gd name="T96" fmla="*/ 5 w 766"/>
                  <a:gd name="T97" fmla="*/ 11 h 502"/>
                  <a:gd name="T98" fmla="*/ 16 w 766"/>
                  <a:gd name="T99" fmla="*/ 11 h 502"/>
                  <a:gd name="T100" fmla="*/ 104 w 766"/>
                  <a:gd name="T101" fmla="*/ 11 h 502"/>
                  <a:gd name="T102" fmla="*/ 468 w 766"/>
                  <a:gd name="T103" fmla="*/ 5 h 502"/>
                  <a:gd name="T104" fmla="*/ 617 w 766"/>
                  <a:gd name="T105" fmla="*/ 0 h 502"/>
                  <a:gd name="T106" fmla="*/ 628 w 766"/>
                  <a:gd name="T107" fmla="*/ 16 h 502"/>
                  <a:gd name="T108" fmla="*/ 639 w 766"/>
                  <a:gd name="T109" fmla="*/ 38 h 502"/>
                  <a:gd name="T110" fmla="*/ 645 w 766"/>
                  <a:gd name="T111" fmla="*/ 44 h 502"/>
                  <a:gd name="T112" fmla="*/ 634 w 766"/>
                  <a:gd name="T113" fmla="*/ 66 h 502"/>
                  <a:gd name="T114" fmla="*/ 634 w 766"/>
                  <a:gd name="T115" fmla="*/ 93 h 502"/>
                  <a:gd name="T116" fmla="*/ 656 w 766"/>
                  <a:gd name="T117" fmla="*/ 127 h 502"/>
                  <a:gd name="T118" fmla="*/ 672 w 766"/>
                  <a:gd name="T119" fmla="*/ 138 h 502"/>
                  <a:gd name="T120" fmla="*/ 694 w 766"/>
                  <a:gd name="T121" fmla="*/ 138 h 502"/>
                  <a:gd name="T122" fmla="*/ 700 w 766"/>
                  <a:gd name="T123" fmla="*/ 1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6" h="502">
                    <a:moveTo>
                      <a:pt x="700" y="154"/>
                    </a:moveTo>
                    <a:lnTo>
                      <a:pt x="705" y="171"/>
                    </a:lnTo>
                    <a:lnTo>
                      <a:pt x="722" y="176"/>
                    </a:lnTo>
                    <a:lnTo>
                      <a:pt x="728" y="187"/>
                    </a:lnTo>
                    <a:lnTo>
                      <a:pt x="733" y="198"/>
                    </a:lnTo>
                    <a:lnTo>
                      <a:pt x="761" y="220"/>
                    </a:lnTo>
                    <a:lnTo>
                      <a:pt x="766" y="237"/>
                    </a:lnTo>
                    <a:lnTo>
                      <a:pt x="761" y="259"/>
                    </a:lnTo>
                    <a:lnTo>
                      <a:pt x="750" y="281"/>
                    </a:lnTo>
                    <a:lnTo>
                      <a:pt x="744" y="303"/>
                    </a:lnTo>
                    <a:lnTo>
                      <a:pt x="728" y="314"/>
                    </a:lnTo>
                    <a:lnTo>
                      <a:pt x="716" y="320"/>
                    </a:lnTo>
                    <a:lnTo>
                      <a:pt x="672" y="331"/>
                    </a:lnTo>
                    <a:lnTo>
                      <a:pt x="667" y="347"/>
                    </a:lnTo>
                    <a:lnTo>
                      <a:pt x="661" y="364"/>
                    </a:lnTo>
                    <a:lnTo>
                      <a:pt x="667" y="375"/>
                    </a:lnTo>
                    <a:lnTo>
                      <a:pt x="678" y="386"/>
                    </a:lnTo>
                    <a:lnTo>
                      <a:pt x="678" y="413"/>
                    </a:lnTo>
                    <a:lnTo>
                      <a:pt x="661" y="424"/>
                    </a:lnTo>
                    <a:lnTo>
                      <a:pt x="661" y="435"/>
                    </a:lnTo>
                    <a:lnTo>
                      <a:pt x="661" y="452"/>
                    </a:lnTo>
                    <a:lnTo>
                      <a:pt x="650" y="458"/>
                    </a:lnTo>
                    <a:lnTo>
                      <a:pt x="634" y="469"/>
                    </a:lnTo>
                    <a:lnTo>
                      <a:pt x="634" y="480"/>
                    </a:lnTo>
                    <a:lnTo>
                      <a:pt x="634" y="491"/>
                    </a:lnTo>
                    <a:lnTo>
                      <a:pt x="628" y="502"/>
                    </a:lnTo>
                    <a:lnTo>
                      <a:pt x="612" y="480"/>
                    </a:lnTo>
                    <a:lnTo>
                      <a:pt x="601" y="463"/>
                    </a:lnTo>
                    <a:lnTo>
                      <a:pt x="540" y="469"/>
                    </a:lnTo>
                    <a:lnTo>
                      <a:pt x="463" y="469"/>
                    </a:lnTo>
                    <a:lnTo>
                      <a:pt x="281" y="474"/>
                    </a:lnTo>
                    <a:lnTo>
                      <a:pt x="182" y="480"/>
                    </a:lnTo>
                    <a:lnTo>
                      <a:pt x="115" y="480"/>
                    </a:lnTo>
                    <a:lnTo>
                      <a:pt x="104" y="480"/>
                    </a:lnTo>
                    <a:lnTo>
                      <a:pt x="93" y="447"/>
                    </a:lnTo>
                    <a:lnTo>
                      <a:pt x="88" y="397"/>
                    </a:lnTo>
                    <a:lnTo>
                      <a:pt x="77" y="369"/>
                    </a:lnTo>
                    <a:lnTo>
                      <a:pt x="71" y="331"/>
                    </a:lnTo>
                    <a:lnTo>
                      <a:pt x="55" y="303"/>
                    </a:lnTo>
                    <a:lnTo>
                      <a:pt x="49" y="270"/>
                    </a:lnTo>
                    <a:lnTo>
                      <a:pt x="27" y="215"/>
                    </a:lnTo>
                    <a:lnTo>
                      <a:pt x="22" y="171"/>
                    </a:lnTo>
                    <a:lnTo>
                      <a:pt x="11" y="154"/>
                    </a:lnTo>
                    <a:lnTo>
                      <a:pt x="0" y="138"/>
                    </a:lnTo>
                    <a:lnTo>
                      <a:pt x="11" y="104"/>
                    </a:lnTo>
                    <a:lnTo>
                      <a:pt x="22" y="60"/>
                    </a:lnTo>
                    <a:lnTo>
                      <a:pt x="5" y="49"/>
                    </a:lnTo>
                    <a:lnTo>
                      <a:pt x="0" y="27"/>
                    </a:lnTo>
                    <a:lnTo>
                      <a:pt x="5" y="11"/>
                    </a:lnTo>
                    <a:lnTo>
                      <a:pt x="16" y="11"/>
                    </a:lnTo>
                    <a:lnTo>
                      <a:pt x="104" y="11"/>
                    </a:lnTo>
                    <a:lnTo>
                      <a:pt x="468" y="5"/>
                    </a:lnTo>
                    <a:lnTo>
                      <a:pt x="617" y="0"/>
                    </a:lnTo>
                    <a:lnTo>
                      <a:pt x="628" y="16"/>
                    </a:lnTo>
                    <a:lnTo>
                      <a:pt x="639" y="38"/>
                    </a:lnTo>
                    <a:lnTo>
                      <a:pt x="645" y="44"/>
                    </a:lnTo>
                    <a:lnTo>
                      <a:pt x="634" y="66"/>
                    </a:lnTo>
                    <a:lnTo>
                      <a:pt x="634" y="93"/>
                    </a:lnTo>
                    <a:lnTo>
                      <a:pt x="656" y="127"/>
                    </a:lnTo>
                    <a:lnTo>
                      <a:pt x="672" y="138"/>
                    </a:lnTo>
                    <a:lnTo>
                      <a:pt x="694" y="138"/>
                    </a:lnTo>
                    <a:lnTo>
                      <a:pt x="700" y="15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2" name="Freeform 48">
                <a:extLst/>
              </p:cNvPr>
              <p:cNvSpPr>
                <a:spLocks/>
              </p:cNvSpPr>
              <p:nvPr/>
            </p:nvSpPr>
            <p:spPr bwMode="auto">
              <a:xfrm>
                <a:off x="7072313" y="4195763"/>
                <a:ext cx="717550" cy="1260475"/>
              </a:xfrm>
              <a:custGeom>
                <a:avLst/>
                <a:gdLst>
                  <a:gd name="T0" fmla="*/ 452 w 452"/>
                  <a:gd name="T1" fmla="*/ 750 h 794"/>
                  <a:gd name="T2" fmla="*/ 447 w 452"/>
                  <a:gd name="T3" fmla="*/ 761 h 794"/>
                  <a:gd name="T4" fmla="*/ 413 w 452"/>
                  <a:gd name="T5" fmla="*/ 761 h 794"/>
                  <a:gd name="T6" fmla="*/ 402 w 452"/>
                  <a:gd name="T7" fmla="*/ 756 h 794"/>
                  <a:gd name="T8" fmla="*/ 386 w 452"/>
                  <a:gd name="T9" fmla="*/ 750 h 794"/>
                  <a:gd name="T10" fmla="*/ 336 w 452"/>
                  <a:gd name="T11" fmla="*/ 767 h 794"/>
                  <a:gd name="T12" fmla="*/ 320 w 452"/>
                  <a:gd name="T13" fmla="*/ 761 h 794"/>
                  <a:gd name="T14" fmla="*/ 303 w 452"/>
                  <a:gd name="T15" fmla="*/ 789 h 794"/>
                  <a:gd name="T16" fmla="*/ 292 w 452"/>
                  <a:gd name="T17" fmla="*/ 794 h 794"/>
                  <a:gd name="T18" fmla="*/ 287 w 452"/>
                  <a:gd name="T19" fmla="*/ 778 h 794"/>
                  <a:gd name="T20" fmla="*/ 276 w 452"/>
                  <a:gd name="T21" fmla="*/ 750 h 794"/>
                  <a:gd name="T22" fmla="*/ 254 w 452"/>
                  <a:gd name="T23" fmla="*/ 728 h 794"/>
                  <a:gd name="T24" fmla="*/ 259 w 452"/>
                  <a:gd name="T25" fmla="*/ 667 h 794"/>
                  <a:gd name="T26" fmla="*/ 254 w 452"/>
                  <a:gd name="T27" fmla="*/ 662 h 794"/>
                  <a:gd name="T28" fmla="*/ 243 w 452"/>
                  <a:gd name="T29" fmla="*/ 667 h 794"/>
                  <a:gd name="T30" fmla="*/ 182 w 452"/>
                  <a:gd name="T31" fmla="*/ 667 h 794"/>
                  <a:gd name="T32" fmla="*/ 5 w 452"/>
                  <a:gd name="T33" fmla="*/ 673 h 794"/>
                  <a:gd name="T34" fmla="*/ 0 w 452"/>
                  <a:gd name="T35" fmla="*/ 662 h 794"/>
                  <a:gd name="T36" fmla="*/ 5 w 452"/>
                  <a:gd name="T37" fmla="*/ 607 h 794"/>
                  <a:gd name="T38" fmla="*/ 33 w 452"/>
                  <a:gd name="T39" fmla="*/ 557 h 794"/>
                  <a:gd name="T40" fmla="*/ 72 w 452"/>
                  <a:gd name="T41" fmla="*/ 491 h 794"/>
                  <a:gd name="T42" fmla="*/ 61 w 452"/>
                  <a:gd name="T43" fmla="*/ 474 h 794"/>
                  <a:gd name="T44" fmla="*/ 72 w 452"/>
                  <a:gd name="T45" fmla="*/ 474 h 794"/>
                  <a:gd name="T46" fmla="*/ 77 w 452"/>
                  <a:gd name="T47" fmla="*/ 452 h 794"/>
                  <a:gd name="T48" fmla="*/ 61 w 452"/>
                  <a:gd name="T49" fmla="*/ 441 h 794"/>
                  <a:gd name="T50" fmla="*/ 61 w 452"/>
                  <a:gd name="T51" fmla="*/ 425 h 794"/>
                  <a:gd name="T52" fmla="*/ 44 w 452"/>
                  <a:gd name="T53" fmla="*/ 392 h 794"/>
                  <a:gd name="T54" fmla="*/ 44 w 452"/>
                  <a:gd name="T55" fmla="*/ 353 h 794"/>
                  <a:gd name="T56" fmla="*/ 55 w 452"/>
                  <a:gd name="T57" fmla="*/ 331 h 794"/>
                  <a:gd name="T58" fmla="*/ 50 w 452"/>
                  <a:gd name="T59" fmla="*/ 303 h 794"/>
                  <a:gd name="T60" fmla="*/ 38 w 452"/>
                  <a:gd name="T61" fmla="*/ 281 h 794"/>
                  <a:gd name="T62" fmla="*/ 50 w 452"/>
                  <a:gd name="T63" fmla="*/ 270 h 794"/>
                  <a:gd name="T64" fmla="*/ 38 w 452"/>
                  <a:gd name="T65" fmla="*/ 254 h 794"/>
                  <a:gd name="T66" fmla="*/ 44 w 452"/>
                  <a:gd name="T67" fmla="*/ 243 h 794"/>
                  <a:gd name="T68" fmla="*/ 50 w 452"/>
                  <a:gd name="T69" fmla="*/ 193 h 794"/>
                  <a:gd name="T70" fmla="*/ 72 w 452"/>
                  <a:gd name="T71" fmla="*/ 176 h 794"/>
                  <a:gd name="T72" fmla="*/ 66 w 452"/>
                  <a:gd name="T73" fmla="*/ 160 h 794"/>
                  <a:gd name="T74" fmla="*/ 94 w 452"/>
                  <a:gd name="T75" fmla="*/ 121 h 794"/>
                  <a:gd name="T76" fmla="*/ 116 w 452"/>
                  <a:gd name="T77" fmla="*/ 116 h 794"/>
                  <a:gd name="T78" fmla="*/ 116 w 452"/>
                  <a:gd name="T79" fmla="*/ 99 h 794"/>
                  <a:gd name="T80" fmla="*/ 110 w 452"/>
                  <a:gd name="T81" fmla="*/ 88 h 794"/>
                  <a:gd name="T82" fmla="*/ 132 w 452"/>
                  <a:gd name="T83" fmla="*/ 49 h 794"/>
                  <a:gd name="T84" fmla="*/ 149 w 452"/>
                  <a:gd name="T85" fmla="*/ 38 h 794"/>
                  <a:gd name="T86" fmla="*/ 149 w 452"/>
                  <a:gd name="T87" fmla="*/ 16 h 794"/>
                  <a:gd name="T88" fmla="*/ 215 w 452"/>
                  <a:gd name="T89" fmla="*/ 11 h 794"/>
                  <a:gd name="T90" fmla="*/ 391 w 452"/>
                  <a:gd name="T91" fmla="*/ 0 h 794"/>
                  <a:gd name="T92" fmla="*/ 425 w 452"/>
                  <a:gd name="T93" fmla="*/ 0 h 794"/>
                  <a:gd name="T94" fmla="*/ 425 w 452"/>
                  <a:gd name="T95" fmla="*/ 44 h 794"/>
                  <a:gd name="T96" fmla="*/ 425 w 452"/>
                  <a:gd name="T97" fmla="*/ 165 h 794"/>
                  <a:gd name="T98" fmla="*/ 419 w 452"/>
                  <a:gd name="T99" fmla="*/ 397 h 794"/>
                  <a:gd name="T100" fmla="*/ 419 w 452"/>
                  <a:gd name="T101" fmla="*/ 496 h 794"/>
                  <a:gd name="T102" fmla="*/ 441 w 452"/>
                  <a:gd name="T103" fmla="*/ 634 h 794"/>
                  <a:gd name="T104" fmla="*/ 452 w 452"/>
                  <a:gd name="T105" fmla="*/ 75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2" h="794">
                    <a:moveTo>
                      <a:pt x="452" y="750"/>
                    </a:moveTo>
                    <a:lnTo>
                      <a:pt x="447" y="761"/>
                    </a:lnTo>
                    <a:lnTo>
                      <a:pt x="413" y="761"/>
                    </a:lnTo>
                    <a:lnTo>
                      <a:pt x="402" y="756"/>
                    </a:lnTo>
                    <a:lnTo>
                      <a:pt x="386" y="750"/>
                    </a:lnTo>
                    <a:lnTo>
                      <a:pt x="336" y="767"/>
                    </a:lnTo>
                    <a:lnTo>
                      <a:pt x="320" y="761"/>
                    </a:lnTo>
                    <a:lnTo>
                      <a:pt x="303" y="789"/>
                    </a:lnTo>
                    <a:lnTo>
                      <a:pt x="292" y="794"/>
                    </a:lnTo>
                    <a:lnTo>
                      <a:pt x="287" y="778"/>
                    </a:lnTo>
                    <a:lnTo>
                      <a:pt x="276" y="750"/>
                    </a:lnTo>
                    <a:lnTo>
                      <a:pt x="254" y="728"/>
                    </a:lnTo>
                    <a:lnTo>
                      <a:pt x="259" y="667"/>
                    </a:lnTo>
                    <a:lnTo>
                      <a:pt x="254" y="662"/>
                    </a:lnTo>
                    <a:lnTo>
                      <a:pt x="243" y="667"/>
                    </a:lnTo>
                    <a:lnTo>
                      <a:pt x="182" y="667"/>
                    </a:lnTo>
                    <a:lnTo>
                      <a:pt x="5" y="673"/>
                    </a:lnTo>
                    <a:lnTo>
                      <a:pt x="0" y="662"/>
                    </a:lnTo>
                    <a:lnTo>
                      <a:pt x="5" y="607"/>
                    </a:lnTo>
                    <a:lnTo>
                      <a:pt x="33" y="557"/>
                    </a:lnTo>
                    <a:lnTo>
                      <a:pt x="72" y="491"/>
                    </a:lnTo>
                    <a:lnTo>
                      <a:pt x="61" y="474"/>
                    </a:lnTo>
                    <a:lnTo>
                      <a:pt x="72" y="474"/>
                    </a:lnTo>
                    <a:lnTo>
                      <a:pt x="77" y="452"/>
                    </a:lnTo>
                    <a:lnTo>
                      <a:pt x="61" y="441"/>
                    </a:lnTo>
                    <a:lnTo>
                      <a:pt x="61" y="425"/>
                    </a:lnTo>
                    <a:lnTo>
                      <a:pt x="44" y="392"/>
                    </a:lnTo>
                    <a:lnTo>
                      <a:pt x="44" y="353"/>
                    </a:lnTo>
                    <a:lnTo>
                      <a:pt x="55" y="331"/>
                    </a:lnTo>
                    <a:lnTo>
                      <a:pt x="50" y="303"/>
                    </a:lnTo>
                    <a:lnTo>
                      <a:pt x="38" y="281"/>
                    </a:lnTo>
                    <a:lnTo>
                      <a:pt x="50" y="270"/>
                    </a:lnTo>
                    <a:lnTo>
                      <a:pt x="38" y="254"/>
                    </a:lnTo>
                    <a:lnTo>
                      <a:pt x="44" y="243"/>
                    </a:lnTo>
                    <a:lnTo>
                      <a:pt x="50" y="193"/>
                    </a:lnTo>
                    <a:lnTo>
                      <a:pt x="72" y="176"/>
                    </a:lnTo>
                    <a:lnTo>
                      <a:pt x="66" y="160"/>
                    </a:lnTo>
                    <a:lnTo>
                      <a:pt x="94" y="121"/>
                    </a:lnTo>
                    <a:lnTo>
                      <a:pt x="116" y="116"/>
                    </a:lnTo>
                    <a:lnTo>
                      <a:pt x="116" y="99"/>
                    </a:lnTo>
                    <a:lnTo>
                      <a:pt x="110" y="88"/>
                    </a:lnTo>
                    <a:lnTo>
                      <a:pt x="132" y="49"/>
                    </a:lnTo>
                    <a:lnTo>
                      <a:pt x="149" y="38"/>
                    </a:lnTo>
                    <a:lnTo>
                      <a:pt x="149" y="16"/>
                    </a:lnTo>
                    <a:lnTo>
                      <a:pt x="215" y="11"/>
                    </a:lnTo>
                    <a:lnTo>
                      <a:pt x="391" y="0"/>
                    </a:lnTo>
                    <a:lnTo>
                      <a:pt x="425" y="0"/>
                    </a:lnTo>
                    <a:lnTo>
                      <a:pt x="425" y="44"/>
                    </a:lnTo>
                    <a:lnTo>
                      <a:pt x="425" y="165"/>
                    </a:lnTo>
                    <a:lnTo>
                      <a:pt x="419" y="397"/>
                    </a:lnTo>
                    <a:lnTo>
                      <a:pt x="419" y="496"/>
                    </a:lnTo>
                    <a:lnTo>
                      <a:pt x="441" y="634"/>
                    </a:lnTo>
                    <a:lnTo>
                      <a:pt x="452" y="75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3" name="Freeform 49">
                <a:extLst/>
              </p:cNvPr>
              <p:cNvSpPr>
                <a:spLocks/>
              </p:cNvSpPr>
              <p:nvPr/>
            </p:nvSpPr>
            <p:spPr bwMode="auto">
              <a:xfrm>
                <a:off x="7720013" y="2390775"/>
                <a:ext cx="603250" cy="1050925"/>
              </a:xfrm>
              <a:custGeom>
                <a:avLst/>
                <a:gdLst>
                  <a:gd name="T0" fmla="*/ 0 w 380"/>
                  <a:gd name="T1" fmla="*/ 662 h 662"/>
                  <a:gd name="T2" fmla="*/ 0 w 380"/>
                  <a:gd name="T3" fmla="*/ 646 h 662"/>
                  <a:gd name="T4" fmla="*/ 0 w 380"/>
                  <a:gd name="T5" fmla="*/ 613 h 662"/>
                  <a:gd name="T6" fmla="*/ 17 w 380"/>
                  <a:gd name="T7" fmla="*/ 591 h 662"/>
                  <a:gd name="T8" fmla="*/ 33 w 380"/>
                  <a:gd name="T9" fmla="*/ 563 h 662"/>
                  <a:gd name="T10" fmla="*/ 50 w 380"/>
                  <a:gd name="T11" fmla="*/ 530 h 662"/>
                  <a:gd name="T12" fmla="*/ 44 w 380"/>
                  <a:gd name="T13" fmla="*/ 486 h 662"/>
                  <a:gd name="T14" fmla="*/ 33 w 380"/>
                  <a:gd name="T15" fmla="*/ 469 h 662"/>
                  <a:gd name="T16" fmla="*/ 33 w 380"/>
                  <a:gd name="T17" fmla="*/ 442 h 662"/>
                  <a:gd name="T18" fmla="*/ 39 w 380"/>
                  <a:gd name="T19" fmla="*/ 403 h 662"/>
                  <a:gd name="T20" fmla="*/ 33 w 380"/>
                  <a:gd name="T21" fmla="*/ 353 h 662"/>
                  <a:gd name="T22" fmla="*/ 22 w 380"/>
                  <a:gd name="T23" fmla="*/ 232 h 662"/>
                  <a:gd name="T24" fmla="*/ 17 w 380"/>
                  <a:gd name="T25" fmla="*/ 122 h 662"/>
                  <a:gd name="T26" fmla="*/ 5 w 380"/>
                  <a:gd name="T27" fmla="*/ 33 h 662"/>
                  <a:gd name="T28" fmla="*/ 28 w 380"/>
                  <a:gd name="T29" fmla="*/ 39 h 662"/>
                  <a:gd name="T30" fmla="*/ 39 w 380"/>
                  <a:gd name="T31" fmla="*/ 50 h 662"/>
                  <a:gd name="T32" fmla="*/ 50 w 380"/>
                  <a:gd name="T33" fmla="*/ 44 h 662"/>
                  <a:gd name="T34" fmla="*/ 66 w 380"/>
                  <a:gd name="T35" fmla="*/ 33 h 662"/>
                  <a:gd name="T36" fmla="*/ 83 w 380"/>
                  <a:gd name="T37" fmla="*/ 22 h 662"/>
                  <a:gd name="T38" fmla="*/ 121 w 380"/>
                  <a:gd name="T39" fmla="*/ 17 h 662"/>
                  <a:gd name="T40" fmla="*/ 287 w 380"/>
                  <a:gd name="T41" fmla="*/ 0 h 662"/>
                  <a:gd name="T42" fmla="*/ 325 w 380"/>
                  <a:gd name="T43" fmla="*/ 0 h 662"/>
                  <a:gd name="T44" fmla="*/ 336 w 380"/>
                  <a:gd name="T45" fmla="*/ 116 h 662"/>
                  <a:gd name="T46" fmla="*/ 369 w 380"/>
                  <a:gd name="T47" fmla="*/ 387 h 662"/>
                  <a:gd name="T48" fmla="*/ 369 w 380"/>
                  <a:gd name="T49" fmla="*/ 431 h 662"/>
                  <a:gd name="T50" fmla="*/ 369 w 380"/>
                  <a:gd name="T51" fmla="*/ 447 h 662"/>
                  <a:gd name="T52" fmla="*/ 380 w 380"/>
                  <a:gd name="T53" fmla="*/ 458 h 662"/>
                  <a:gd name="T54" fmla="*/ 380 w 380"/>
                  <a:gd name="T55" fmla="*/ 469 h 662"/>
                  <a:gd name="T56" fmla="*/ 358 w 380"/>
                  <a:gd name="T57" fmla="*/ 480 h 662"/>
                  <a:gd name="T58" fmla="*/ 336 w 380"/>
                  <a:gd name="T59" fmla="*/ 491 h 662"/>
                  <a:gd name="T60" fmla="*/ 309 w 380"/>
                  <a:gd name="T61" fmla="*/ 497 h 662"/>
                  <a:gd name="T62" fmla="*/ 309 w 380"/>
                  <a:gd name="T63" fmla="*/ 530 h 662"/>
                  <a:gd name="T64" fmla="*/ 276 w 380"/>
                  <a:gd name="T65" fmla="*/ 558 h 662"/>
                  <a:gd name="T66" fmla="*/ 254 w 380"/>
                  <a:gd name="T67" fmla="*/ 585 h 662"/>
                  <a:gd name="T68" fmla="*/ 254 w 380"/>
                  <a:gd name="T69" fmla="*/ 602 h 662"/>
                  <a:gd name="T70" fmla="*/ 248 w 380"/>
                  <a:gd name="T71" fmla="*/ 613 h 662"/>
                  <a:gd name="T72" fmla="*/ 226 w 380"/>
                  <a:gd name="T73" fmla="*/ 613 h 662"/>
                  <a:gd name="T74" fmla="*/ 215 w 380"/>
                  <a:gd name="T75" fmla="*/ 602 h 662"/>
                  <a:gd name="T76" fmla="*/ 198 w 380"/>
                  <a:gd name="T77" fmla="*/ 613 h 662"/>
                  <a:gd name="T78" fmla="*/ 176 w 380"/>
                  <a:gd name="T79" fmla="*/ 624 h 662"/>
                  <a:gd name="T80" fmla="*/ 176 w 380"/>
                  <a:gd name="T81" fmla="*/ 646 h 662"/>
                  <a:gd name="T82" fmla="*/ 171 w 380"/>
                  <a:gd name="T83" fmla="*/ 646 h 662"/>
                  <a:gd name="T84" fmla="*/ 165 w 380"/>
                  <a:gd name="T85" fmla="*/ 640 h 662"/>
                  <a:gd name="T86" fmla="*/ 149 w 380"/>
                  <a:gd name="T87" fmla="*/ 629 h 662"/>
                  <a:gd name="T88" fmla="*/ 127 w 380"/>
                  <a:gd name="T89" fmla="*/ 640 h 662"/>
                  <a:gd name="T90" fmla="*/ 116 w 380"/>
                  <a:gd name="T91" fmla="*/ 662 h 662"/>
                  <a:gd name="T92" fmla="*/ 105 w 380"/>
                  <a:gd name="T93" fmla="*/ 657 h 662"/>
                  <a:gd name="T94" fmla="*/ 94 w 380"/>
                  <a:gd name="T95" fmla="*/ 640 h 662"/>
                  <a:gd name="T96" fmla="*/ 61 w 380"/>
                  <a:gd name="T97" fmla="*/ 646 h 662"/>
                  <a:gd name="T98" fmla="*/ 17 w 380"/>
                  <a:gd name="T99" fmla="*/ 651 h 662"/>
                  <a:gd name="T100" fmla="*/ 0 w 380"/>
                  <a:gd name="T101"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0" h="662">
                    <a:moveTo>
                      <a:pt x="0" y="662"/>
                    </a:moveTo>
                    <a:lnTo>
                      <a:pt x="0" y="646"/>
                    </a:lnTo>
                    <a:lnTo>
                      <a:pt x="0" y="613"/>
                    </a:lnTo>
                    <a:lnTo>
                      <a:pt x="17" y="591"/>
                    </a:lnTo>
                    <a:lnTo>
                      <a:pt x="33" y="563"/>
                    </a:lnTo>
                    <a:lnTo>
                      <a:pt x="50" y="530"/>
                    </a:lnTo>
                    <a:lnTo>
                      <a:pt x="44" y="486"/>
                    </a:lnTo>
                    <a:lnTo>
                      <a:pt x="33" y="469"/>
                    </a:lnTo>
                    <a:lnTo>
                      <a:pt x="33" y="442"/>
                    </a:lnTo>
                    <a:lnTo>
                      <a:pt x="39" y="403"/>
                    </a:lnTo>
                    <a:lnTo>
                      <a:pt x="33" y="353"/>
                    </a:lnTo>
                    <a:lnTo>
                      <a:pt x="22" y="232"/>
                    </a:lnTo>
                    <a:lnTo>
                      <a:pt x="17" y="122"/>
                    </a:lnTo>
                    <a:lnTo>
                      <a:pt x="5" y="33"/>
                    </a:lnTo>
                    <a:lnTo>
                      <a:pt x="28" y="39"/>
                    </a:lnTo>
                    <a:lnTo>
                      <a:pt x="39" y="50"/>
                    </a:lnTo>
                    <a:lnTo>
                      <a:pt x="50" y="44"/>
                    </a:lnTo>
                    <a:lnTo>
                      <a:pt x="66" y="33"/>
                    </a:lnTo>
                    <a:lnTo>
                      <a:pt x="83" y="22"/>
                    </a:lnTo>
                    <a:lnTo>
                      <a:pt x="121" y="17"/>
                    </a:lnTo>
                    <a:lnTo>
                      <a:pt x="287" y="0"/>
                    </a:lnTo>
                    <a:lnTo>
                      <a:pt x="325" y="0"/>
                    </a:lnTo>
                    <a:lnTo>
                      <a:pt x="336" y="116"/>
                    </a:lnTo>
                    <a:lnTo>
                      <a:pt x="369" y="387"/>
                    </a:lnTo>
                    <a:lnTo>
                      <a:pt x="369" y="431"/>
                    </a:lnTo>
                    <a:lnTo>
                      <a:pt x="369" y="447"/>
                    </a:lnTo>
                    <a:lnTo>
                      <a:pt x="380" y="458"/>
                    </a:lnTo>
                    <a:lnTo>
                      <a:pt x="380" y="469"/>
                    </a:lnTo>
                    <a:lnTo>
                      <a:pt x="358" y="480"/>
                    </a:lnTo>
                    <a:lnTo>
                      <a:pt x="336" y="491"/>
                    </a:lnTo>
                    <a:lnTo>
                      <a:pt x="309" y="497"/>
                    </a:lnTo>
                    <a:lnTo>
                      <a:pt x="309" y="530"/>
                    </a:lnTo>
                    <a:lnTo>
                      <a:pt x="276" y="558"/>
                    </a:lnTo>
                    <a:lnTo>
                      <a:pt x="254" y="585"/>
                    </a:lnTo>
                    <a:lnTo>
                      <a:pt x="254" y="602"/>
                    </a:lnTo>
                    <a:lnTo>
                      <a:pt x="248" y="613"/>
                    </a:lnTo>
                    <a:lnTo>
                      <a:pt x="226" y="613"/>
                    </a:lnTo>
                    <a:lnTo>
                      <a:pt x="215" y="602"/>
                    </a:lnTo>
                    <a:lnTo>
                      <a:pt x="198" y="613"/>
                    </a:lnTo>
                    <a:lnTo>
                      <a:pt x="176" y="624"/>
                    </a:lnTo>
                    <a:lnTo>
                      <a:pt x="176" y="646"/>
                    </a:lnTo>
                    <a:lnTo>
                      <a:pt x="171" y="646"/>
                    </a:lnTo>
                    <a:lnTo>
                      <a:pt x="165" y="640"/>
                    </a:lnTo>
                    <a:lnTo>
                      <a:pt x="149" y="629"/>
                    </a:lnTo>
                    <a:lnTo>
                      <a:pt x="127" y="640"/>
                    </a:lnTo>
                    <a:lnTo>
                      <a:pt x="116" y="662"/>
                    </a:lnTo>
                    <a:lnTo>
                      <a:pt x="105" y="657"/>
                    </a:lnTo>
                    <a:lnTo>
                      <a:pt x="94" y="640"/>
                    </a:lnTo>
                    <a:lnTo>
                      <a:pt x="61" y="646"/>
                    </a:lnTo>
                    <a:lnTo>
                      <a:pt x="17" y="651"/>
                    </a:lnTo>
                    <a:lnTo>
                      <a:pt x="0" y="662"/>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4" name="Freeform 50">
                <a:extLst/>
              </p:cNvPr>
              <p:cNvSpPr>
                <a:spLocks/>
              </p:cNvSpPr>
              <p:nvPr/>
            </p:nvSpPr>
            <p:spPr bwMode="auto">
              <a:xfrm>
                <a:off x="6985000" y="2251075"/>
                <a:ext cx="804863" cy="1444625"/>
              </a:xfrm>
              <a:custGeom>
                <a:avLst/>
                <a:gdLst>
                  <a:gd name="T0" fmla="*/ 457 w 507"/>
                  <a:gd name="T1" fmla="*/ 734 h 910"/>
                  <a:gd name="T2" fmla="*/ 474 w 507"/>
                  <a:gd name="T3" fmla="*/ 673 h 910"/>
                  <a:gd name="T4" fmla="*/ 507 w 507"/>
                  <a:gd name="T5" fmla="*/ 618 h 910"/>
                  <a:gd name="T6" fmla="*/ 491 w 507"/>
                  <a:gd name="T7" fmla="*/ 552 h 910"/>
                  <a:gd name="T8" fmla="*/ 496 w 507"/>
                  <a:gd name="T9" fmla="*/ 491 h 910"/>
                  <a:gd name="T10" fmla="*/ 480 w 507"/>
                  <a:gd name="T11" fmla="*/ 320 h 910"/>
                  <a:gd name="T12" fmla="*/ 463 w 507"/>
                  <a:gd name="T13" fmla="*/ 121 h 910"/>
                  <a:gd name="T14" fmla="*/ 457 w 507"/>
                  <a:gd name="T15" fmla="*/ 99 h 910"/>
                  <a:gd name="T16" fmla="*/ 435 w 507"/>
                  <a:gd name="T17" fmla="*/ 55 h 910"/>
                  <a:gd name="T18" fmla="*/ 424 w 507"/>
                  <a:gd name="T19" fmla="*/ 0 h 910"/>
                  <a:gd name="T20" fmla="*/ 149 w 507"/>
                  <a:gd name="T21" fmla="*/ 22 h 910"/>
                  <a:gd name="T22" fmla="*/ 88 w 507"/>
                  <a:gd name="T23" fmla="*/ 33 h 910"/>
                  <a:gd name="T24" fmla="*/ 110 w 507"/>
                  <a:gd name="T25" fmla="*/ 50 h 910"/>
                  <a:gd name="T26" fmla="*/ 143 w 507"/>
                  <a:gd name="T27" fmla="*/ 88 h 910"/>
                  <a:gd name="T28" fmla="*/ 143 w 507"/>
                  <a:gd name="T29" fmla="*/ 127 h 910"/>
                  <a:gd name="T30" fmla="*/ 127 w 507"/>
                  <a:gd name="T31" fmla="*/ 177 h 910"/>
                  <a:gd name="T32" fmla="*/ 93 w 507"/>
                  <a:gd name="T33" fmla="*/ 193 h 910"/>
                  <a:gd name="T34" fmla="*/ 49 w 507"/>
                  <a:gd name="T35" fmla="*/ 215 h 910"/>
                  <a:gd name="T36" fmla="*/ 49 w 507"/>
                  <a:gd name="T37" fmla="*/ 243 h 910"/>
                  <a:gd name="T38" fmla="*/ 60 w 507"/>
                  <a:gd name="T39" fmla="*/ 281 h 910"/>
                  <a:gd name="T40" fmla="*/ 44 w 507"/>
                  <a:gd name="T41" fmla="*/ 309 h 910"/>
                  <a:gd name="T42" fmla="*/ 33 w 507"/>
                  <a:gd name="T43" fmla="*/ 331 h 910"/>
                  <a:gd name="T44" fmla="*/ 16 w 507"/>
                  <a:gd name="T45" fmla="*/ 348 h 910"/>
                  <a:gd name="T46" fmla="*/ 5 w 507"/>
                  <a:gd name="T47" fmla="*/ 375 h 910"/>
                  <a:gd name="T48" fmla="*/ 0 w 507"/>
                  <a:gd name="T49" fmla="*/ 419 h 910"/>
                  <a:gd name="T50" fmla="*/ 71 w 507"/>
                  <a:gd name="T51" fmla="*/ 530 h 910"/>
                  <a:gd name="T52" fmla="*/ 110 w 507"/>
                  <a:gd name="T53" fmla="*/ 590 h 910"/>
                  <a:gd name="T54" fmla="*/ 165 w 507"/>
                  <a:gd name="T55" fmla="*/ 601 h 910"/>
                  <a:gd name="T56" fmla="*/ 182 w 507"/>
                  <a:gd name="T57" fmla="*/ 640 h 910"/>
                  <a:gd name="T58" fmla="*/ 160 w 507"/>
                  <a:gd name="T59" fmla="*/ 706 h 910"/>
                  <a:gd name="T60" fmla="*/ 220 w 507"/>
                  <a:gd name="T61" fmla="*/ 772 h 910"/>
                  <a:gd name="T62" fmla="*/ 270 w 507"/>
                  <a:gd name="T63" fmla="*/ 817 h 910"/>
                  <a:gd name="T64" fmla="*/ 281 w 507"/>
                  <a:gd name="T65" fmla="*/ 861 h 910"/>
                  <a:gd name="T66" fmla="*/ 303 w 507"/>
                  <a:gd name="T67" fmla="*/ 910 h 910"/>
                  <a:gd name="T68" fmla="*/ 325 w 507"/>
                  <a:gd name="T69" fmla="*/ 888 h 910"/>
                  <a:gd name="T70" fmla="*/ 364 w 507"/>
                  <a:gd name="T71" fmla="*/ 866 h 910"/>
                  <a:gd name="T72" fmla="*/ 408 w 507"/>
                  <a:gd name="T73" fmla="*/ 883 h 910"/>
                  <a:gd name="T74" fmla="*/ 413 w 507"/>
                  <a:gd name="T75" fmla="*/ 872 h 910"/>
                  <a:gd name="T76" fmla="*/ 408 w 507"/>
                  <a:gd name="T77" fmla="*/ 833 h 910"/>
                  <a:gd name="T78" fmla="*/ 441 w 507"/>
                  <a:gd name="T79" fmla="*/ 817 h 910"/>
                  <a:gd name="T80" fmla="*/ 446 w 507"/>
                  <a:gd name="T81" fmla="*/ 806 h 910"/>
                  <a:gd name="T82" fmla="*/ 446 w 507"/>
                  <a:gd name="T83" fmla="*/ 778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7" h="910">
                    <a:moveTo>
                      <a:pt x="457" y="756"/>
                    </a:moveTo>
                    <a:lnTo>
                      <a:pt x="457" y="734"/>
                    </a:lnTo>
                    <a:lnTo>
                      <a:pt x="457" y="695"/>
                    </a:lnTo>
                    <a:lnTo>
                      <a:pt x="474" y="673"/>
                    </a:lnTo>
                    <a:lnTo>
                      <a:pt x="491" y="646"/>
                    </a:lnTo>
                    <a:lnTo>
                      <a:pt x="507" y="618"/>
                    </a:lnTo>
                    <a:lnTo>
                      <a:pt x="507" y="579"/>
                    </a:lnTo>
                    <a:lnTo>
                      <a:pt x="491" y="552"/>
                    </a:lnTo>
                    <a:lnTo>
                      <a:pt x="491" y="530"/>
                    </a:lnTo>
                    <a:lnTo>
                      <a:pt x="496" y="491"/>
                    </a:lnTo>
                    <a:lnTo>
                      <a:pt x="491" y="436"/>
                    </a:lnTo>
                    <a:lnTo>
                      <a:pt x="480" y="320"/>
                    </a:lnTo>
                    <a:lnTo>
                      <a:pt x="468" y="210"/>
                    </a:lnTo>
                    <a:lnTo>
                      <a:pt x="463" y="121"/>
                    </a:lnTo>
                    <a:lnTo>
                      <a:pt x="463" y="116"/>
                    </a:lnTo>
                    <a:lnTo>
                      <a:pt x="457" y="99"/>
                    </a:lnTo>
                    <a:lnTo>
                      <a:pt x="446" y="72"/>
                    </a:lnTo>
                    <a:lnTo>
                      <a:pt x="435" y="55"/>
                    </a:lnTo>
                    <a:lnTo>
                      <a:pt x="424" y="39"/>
                    </a:lnTo>
                    <a:lnTo>
                      <a:pt x="424" y="0"/>
                    </a:lnTo>
                    <a:lnTo>
                      <a:pt x="347" y="6"/>
                    </a:lnTo>
                    <a:lnTo>
                      <a:pt x="149" y="22"/>
                    </a:lnTo>
                    <a:lnTo>
                      <a:pt x="88" y="17"/>
                    </a:lnTo>
                    <a:lnTo>
                      <a:pt x="88" y="33"/>
                    </a:lnTo>
                    <a:lnTo>
                      <a:pt x="105" y="39"/>
                    </a:lnTo>
                    <a:lnTo>
                      <a:pt x="110" y="50"/>
                    </a:lnTo>
                    <a:lnTo>
                      <a:pt x="116" y="61"/>
                    </a:lnTo>
                    <a:lnTo>
                      <a:pt x="143" y="88"/>
                    </a:lnTo>
                    <a:lnTo>
                      <a:pt x="149" y="105"/>
                    </a:lnTo>
                    <a:lnTo>
                      <a:pt x="143" y="127"/>
                    </a:lnTo>
                    <a:lnTo>
                      <a:pt x="132" y="155"/>
                    </a:lnTo>
                    <a:lnTo>
                      <a:pt x="127" y="177"/>
                    </a:lnTo>
                    <a:lnTo>
                      <a:pt x="110" y="188"/>
                    </a:lnTo>
                    <a:lnTo>
                      <a:pt x="93" y="193"/>
                    </a:lnTo>
                    <a:lnTo>
                      <a:pt x="55" y="204"/>
                    </a:lnTo>
                    <a:lnTo>
                      <a:pt x="49" y="215"/>
                    </a:lnTo>
                    <a:lnTo>
                      <a:pt x="44" y="232"/>
                    </a:lnTo>
                    <a:lnTo>
                      <a:pt x="49" y="243"/>
                    </a:lnTo>
                    <a:lnTo>
                      <a:pt x="66" y="254"/>
                    </a:lnTo>
                    <a:lnTo>
                      <a:pt x="60" y="281"/>
                    </a:lnTo>
                    <a:lnTo>
                      <a:pt x="49" y="298"/>
                    </a:lnTo>
                    <a:lnTo>
                      <a:pt x="44" y="309"/>
                    </a:lnTo>
                    <a:lnTo>
                      <a:pt x="44" y="326"/>
                    </a:lnTo>
                    <a:lnTo>
                      <a:pt x="33" y="331"/>
                    </a:lnTo>
                    <a:lnTo>
                      <a:pt x="16" y="337"/>
                    </a:lnTo>
                    <a:lnTo>
                      <a:pt x="16" y="348"/>
                    </a:lnTo>
                    <a:lnTo>
                      <a:pt x="16" y="364"/>
                    </a:lnTo>
                    <a:lnTo>
                      <a:pt x="5" y="375"/>
                    </a:lnTo>
                    <a:lnTo>
                      <a:pt x="0" y="397"/>
                    </a:lnTo>
                    <a:lnTo>
                      <a:pt x="0" y="419"/>
                    </a:lnTo>
                    <a:lnTo>
                      <a:pt x="16" y="475"/>
                    </a:lnTo>
                    <a:lnTo>
                      <a:pt x="71" y="530"/>
                    </a:lnTo>
                    <a:lnTo>
                      <a:pt x="110" y="557"/>
                    </a:lnTo>
                    <a:lnTo>
                      <a:pt x="110" y="590"/>
                    </a:lnTo>
                    <a:lnTo>
                      <a:pt x="116" y="601"/>
                    </a:lnTo>
                    <a:lnTo>
                      <a:pt x="165" y="601"/>
                    </a:lnTo>
                    <a:lnTo>
                      <a:pt x="187" y="612"/>
                    </a:lnTo>
                    <a:lnTo>
                      <a:pt x="182" y="640"/>
                    </a:lnTo>
                    <a:lnTo>
                      <a:pt x="165" y="684"/>
                    </a:lnTo>
                    <a:lnTo>
                      <a:pt x="160" y="706"/>
                    </a:lnTo>
                    <a:lnTo>
                      <a:pt x="176" y="734"/>
                    </a:lnTo>
                    <a:lnTo>
                      <a:pt x="220" y="772"/>
                    </a:lnTo>
                    <a:lnTo>
                      <a:pt x="253" y="778"/>
                    </a:lnTo>
                    <a:lnTo>
                      <a:pt x="270" y="817"/>
                    </a:lnTo>
                    <a:lnTo>
                      <a:pt x="287" y="839"/>
                    </a:lnTo>
                    <a:lnTo>
                      <a:pt x="281" y="861"/>
                    </a:lnTo>
                    <a:lnTo>
                      <a:pt x="292" y="894"/>
                    </a:lnTo>
                    <a:lnTo>
                      <a:pt x="303" y="910"/>
                    </a:lnTo>
                    <a:lnTo>
                      <a:pt x="320" y="899"/>
                    </a:lnTo>
                    <a:lnTo>
                      <a:pt x="325" y="888"/>
                    </a:lnTo>
                    <a:lnTo>
                      <a:pt x="336" y="877"/>
                    </a:lnTo>
                    <a:lnTo>
                      <a:pt x="364" y="866"/>
                    </a:lnTo>
                    <a:lnTo>
                      <a:pt x="386" y="877"/>
                    </a:lnTo>
                    <a:lnTo>
                      <a:pt x="408" y="883"/>
                    </a:lnTo>
                    <a:lnTo>
                      <a:pt x="413" y="883"/>
                    </a:lnTo>
                    <a:lnTo>
                      <a:pt x="413" y="872"/>
                    </a:lnTo>
                    <a:lnTo>
                      <a:pt x="402" y="855"/>
                    </a:lnTo>
                    <a:lnTo>
                      <a:pt x="408" y="833"/>
                    </a:lnTo>
                    <a:lnTo>
                      <a:pt x="424" y="822"/>
                    </a:lnTo>
                    <a:lnTo>
                      <a:pt x="441" y="817"/>
                    </a:lnTo>
                    <a:lnTo>
                      <a:pt x="452" y="811"/>
                    </a:lnTo>
                    <a:lnTo>
                      <a:pt x="446" y="806"/>
                    </a:lnTo>
                    <a:lnTo>
                      <a:pt x="441" y="789"/>
                    </a:lnTo>
                    <a:lnTo>
                      <a:pt x="446" y="778"/>
                    </a:lnTo>
                    <a:lnTo>
                      <a:pt x="457" y="75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5" name="Freeform 51">
                <a:extLst/>
              </p:cNvPr>
              <p:cNvSpPr>
                <a:spLocks/>
              </p:cNvSpPr>
              <p:nvPr/>
            </p:nvSpPr>
            <p:spPr bwMode="auto">
              <a:xfrm>
                <a:off x="5899150" y="552450"/>
                <a:ext cx="1339850" cy="1489075"/>
              </a:xfrm>
              <a:custGeom>
                <a:avLst/>
                <a:gdLst>
                  <a:gd name="T0" fmla="*/ 66 w 844"/>
                  <a:gd name="T1" fmla="*/ 491 h 938"/>
                  <a:gd name="T2" fmla="*/ 39 w 844"/>
                  <a:gd name="T3" fmla="*/ 342 h 938"/>
                  <a:gd name="T4" fmla="*/ 22 w 844"/>
                  <a:gd name="T5" fmla="*/ 242 h 938"/>
                  <a:gd name="T6" fmla="*/ 11 w 844"/>
                  <a:gd name="T7" fmla="*/ 132 h 938"/>
                  <a:gd name="T8" fmla="*/ 0 w 844"/>
                  <a:gd name="T9" fmla="*/ 60 h 938"/>
                  <a:gd name="T10" fmla="*/ 226 w 844"/>
                  <a:gd name="T11" fmla="*/ 0 h 938"/>
                  <a:gd name="T12" fmla="*/ 243 w 844"/>
                  <a:gd name="T13" fmla="*/ 5 h 938"/>
                  <a:gd name="T14" fmla="*/ 265 w 844"/>
                  <a:gd name="T15" fmla="*/ 49 h 938"/>
                  <a:gd name="T16" fmla="*/ 287 w 844"/>
                  <a:gd name="T17" fmla="*/ 105 h 938"/>
                  <a:gd name="T18" fmla="*/ 325 w 844"/>
                  <a:gd name="T19" fmla="*/ 116 h 938"/>
                  <a:gd name="T20" fmla="*/ 375 w 844"/>
                  <a:gd name="T21" fmla="*/ 132 h 938"/>
                  <a:gd name="T22" fmla="*/ 408 w 844"/>
                  <a:gd name="T23" fmla="*/ 127 h 938"/>
                  <a:gd name="T24" fmla="*/ 436 w 844"/>
                  <a:gd name="T25" fmla="*/ 110 h 938"/>
                  <a:gd name="T26" fmla="*/ 469 w 844"/>
                  <a:gd name="T27" fmla="*/ 121 h 938"/>
                  <a:gd name="T28" fmla="*/ 535 w 844"/>
                  <a:gd name="T29" fmla="*/ 154 h 938"/>
                  <a:gd name="T30" fmla="*/ 557 w 844"/>
                  <a:gd name="T31" fmla="*/ 154 h 938"/>
                  <a:gd name="T32" fmla="*/ 568 w 844"/>
                  <a:gd name="T33" fmla="*/ 171 h 938"/>
                  <a:gd name="T34" fmla="*/ 590 w 844"/>
                  <a:gd name="T35" fmla="*/ 176 h 938"/>
                  <a:gd name="T36" fmla="*/ 601 w 844"/>
                  <a:gd name="T37" fmla="*/ 193 h 938"/>
                  <a:gd name="T38" fmla="*/ 645 w 844"/>
                  <a:gd name="T39" fmla="*/ 198 h 938"/>
                  <a:gd name="T40" fmla="*/ 678 w 844"/>
                  <a:gd name="T41" fmla="*/ 171 h 938"/>
                  <a:gd name="T42" fmla="*/ 706 w 844"/>
                  <a:gd name="T43" fmla="*/ 182 h 938"/>
                  <a:gd name="T44" fmla="*/ 717 w 844"/>
                  <a:gd name="T45" fmla="*/ 187 h 938"/>
                  <a:gd name="T46" fmla="*/ 789 w 844"/>
                  <a:gd name="T47" fmla="*/ 182 h 938"/>
                  <a:gd name="T48" fmla="*/ 805 w 844"/>
                  <a:gd name="T49" fmla="*/ 204 h 938"/>
                  <a:gd name="T50" fmla="*/ 844 w 844"/>
                  <a:gd name="T51" fmla="*/ 193 h 938"/>
                  <a:gd name="T52" fmla="*/ 811 w 844"/>
                  <a:gd name="T53" fmla="*/ 226 h 938"/>
                  <a:gd name="T54" fmla="*/ 706 w 844"/>
                  <a:gd name="T55" fmla="*/ 270 h 938"/>
                  <a:gd name="T56" fmla="*/ 667 w 844"/>
                  <a:gd name="T57" fmla="*/ 314 h 938"/>
                  <a:gd name="T58" fmla="*/ 634 w 844"/>
                  <a:gd name="T59" fmla="*/ 347 h 938"/>
                  <a:gd name="T60" fmla="*/ 596 w 844"/>
                  <a:gd name="T61" fmla="*/ 386 h 938"/>
                  <a:gd name="T62" fmla="*/ 546 w 844"/>
                  <a:gd name="T63" fmla="*/ 430 h 938"/>
                  <a:gd name="T64" fmla="*/ 546 w 844"/>
                  <a:gd name="T65" fmla="*/ 507 h 938"/>
                  <a:gd name="T66" fmla="*/ 496 w 844"/>
                  <a:gd name="T67" fmla="*/ 551 h 938"/>
                  <a:gd name="T68" fmla="*/ 502 w 844"/>
                  <a:gd name="T69" fmla="*/ 623 h 938"/>
                  <a:gd name="T70" fmla="*/ 496 w 844"/>
                  <a:gd name="T71" fmla="*/ 662 h 938"/>
                  <a:gd name="T72" fmla="*/ 496 w 844"/>
                  <a:gd name="T73" fmla="*/ 739 h 938"/>
                  <a:gd name="T74" fmla="*/ 540 w 844"/>
                  <a:gd name="T75" fmla="*/ 772 h 938"/>
                  <a:gd name="T76" fmla="*/ 584 w 844"/>
                  <a:gd name="T77" fmla="*/ 800 h 938"/>
                  <a:gd name="T78" fmla="*/ 662 w 844"/>
                  <a:gd name="T79" fmla="*/ 871 h 938"/>
                  <a:gd name="T80" fmla="*/ 678 w 844"/>
                  <a:gd name="T81" fmla="*/ 927 h 938"/>
                  <a:gd name="T82" fmla="*/ 83 w 844"/>
                  <a:gd name="T83" fmla="*/ 938 h 938"/>
                  <a:gd name="T84" fmla="*/ 77 w 844"/>
                  <a:gd name="T85" fmla="*/ 651 h 938"/>
                  <a:gd name="T86" fmla="*/ 39 w 844"/>
                  <a:gd name="T87" fmla="*/ 612 h 938"/>
                  <a:gd name="T88" fmla="*/ 55 w 844"/>
                  <a:gd name="T89" fmla="*/ 590 h 938"/>
                  <a:gd name="T90" fmla="*/ 66 w 844"/>
                  <a:gd name="T91" fmla="*/ 55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44" h="938">
                    <a:moveTo>
                      <a:pt x="66" y="557"/>
                    </a:moveTo>
                    <a:lnTo>
                      <a:pt x="66" y="491"/>
                    </a:lnTo>
                    <a:lnTo>
                      <a:pt x="50" y="441"/>
                    </a:lnTo>
                    <a:lnTo>
                      <a:pt x="39" y="342"/>
                    </a:lnTo>
                    <a:lnTo>
                      <a:pt x="33" y="270"/>
                    </a:lnTo>
                    <a:lnTo>
                      <a:pt x="22" y="242"/>
                    </a:lnTo>
                    <a:lnTo>
                      <a:pt x="11" y="204"/>
                    </a:lnTo>
                    <a:lnTo>
                      <a:pt x="11" y="132"/>
                    </a:lnTo>
                    <a:lnTo>
                      <a:pt x="11" y="99"/>
                    </a:lnTo>
                    <a:lnTo>
                      <a:pt x="0" y="60"/>
                    </a:lnTo>
                    <a:lnTo>
                      <a:pt x="221" y="60"/>
                    </a:lnTo>
                    <a:lnTo>
                      <a:pt x="226" y="0"/>
                    </a:lnTo>
                    <a:lnTo>
                      <a:pt x="226" y="0"/>
                    </a:lnTo>
                    <a:lnTo>
                      <a:pt x="243" y="5"/>
                    </a:lnTo>
                    <a:lnTo>
                      <a:pt x="259" y="11"/>
                    </a:lnTo>
                    <a:lnTo>
                      <a:pt x="265" y="49"/>
                    </a:lnTo>
                    <a:lnTo>
                      <a:pt x="276" y="93"/>
                    </a:lnTo>
                    <a:lnTo>
                      <a:pt x="287" y="105"/>
                    </a:lnTo>
                    <a:lnTo>
                      <a:pt x="325" y="105"/>
                    </a:lnTo>
                    <a:lnTo>
                      <a:pt x="325" y="116"/>
                    </a:lnTo>
                    <a:lnTo>
                      <a:pt x="375" y="121"/>
                    </a:lnTo>
                    <a:lnTo>
                      <a:pt x="375" y="132"/>
                    </a:lnTo>
                    <a:lnTo>
                      <a:pt x="408" y="132"/>
                    </a:lnTo>
                    <a:lnTo>
                      <a:pt x="408" y="127"/>
                    </a:lnTo>
                    <a:lnTo>
                      <a:pt x="419" y="116"/>
                    </a:lnTo>
                    <a:lnTo>
                      <a:pt x="436" y="110"/>
                    </a:lnTo>
                    <a:lnTo>
                      <a:pt x="447" y="121"/>
                    </a:lnTo>
                    <a:lnTo>
                      <a:pt x="469" y="121"/>
                    </a:lnTo>
                    <a:lnTo>
                      <a:pt x="496" y="138"/>
                    </a:lnTo>
                    <a:lnTo>
                      <a:pt x="535" y="154"/>
                    </a:lnTo>
                    <a:lnTo>
                      <a:pt x="551" y="160"/>
                    </a:lnTo>
                    <a:lnTo>
                      <a:pt x="557" y="154"/>
                    </a:lnTo>
                    <a:lnTo>
                      <a:pt x="568" y="149"/>
                    </a:lnTo>
                    <a:lnTo>
                      <a:pt x="568" y="171"/>
                    </a:lnTo>
                    <a:lnTo>
                      <a:pt x="590" y="182"/>
                    </a:lnTo>
                    <a:lnTo>
                      <a:pt x="590" y="176"/>
                    </a:lnTo>
                    <a:lnTo>
                      <a:pt x="601" y="176"/>
                    </a:lnTo>
                    <a:lnTo>
                      <a:pt x="601" y="193"/>
                    </a:lnTo>
                    <a:lnTo>
                      <a:pt x="623" y="198"/>
                    </a:lnTo>
                    <a:lnTo>
                      <a:pt x="645" y="198"/>
                    </a:lnTo>
                    <a:lnTo>
                      <a:pt x="656" y="193"/>
                    </a:lnTo>
                    <a:lnTo>
                      <a:pt x="678" y="171"/>
                    </a:lnTo>
                    <a:lnTo>
                      <a:pt x="700" y="165"/>
                    </a:lnTo>
                    <a:lnTo>
                      <a:pt x="706" y="182"/>
                    </a:lnTo>
                    <a:lnTo>
                      <a:pt x="706" y="187"/>
                    </a:lnTo>
                    <a:lnTo>
                      <a:pt x="717" y="187"/>
                    </a:lnTo>
                    <a:lnTo>
                      <a:pt x="722" y="182"/>
                    </a:lnTo>
                    <a:lnTo>
                      <a:pt x="789" y="182"/>
                    </a:lnTo>
                    <a:lnTo>
                      <a:pt x="800" y="204"/>
                    </a:lnTo>
                    <a:lnTo>
                      <a:pt x="805" y="204"/>
                    </a:lnTo>
                    <a:lnTo>
                      <a:pt x="811" y="198"/>
                    </a:lnTo>
                    <a:lnTo>
                      <a:pt x="844" y="193"/>
                    </a:lnTo>
                    <a:lnTo>
                      <a:pt x="838" y="209"/>
                    </a:lnTo>
                    <a:lnTo>
                      <a:pt x="811" y="226"/>
                    </a:lnTo>
                    <a:lnTo>
                      <a:pt x="739" y="253"/>
                    </a:lnTo>
                    <a:lnTo>
                      <a:pt x="706" y="270"/>
                    </a:lnTo>
                    <a:lnTo>
                      <a:pt x="684" y="287"/>
                    </a:lnTo>
                    <a:lnTo>
                      <a:pt x="667" y="314"/>
                    </a:lnTo>
                    <a:lnTo>
                      <a:pt x="651" y="342"/>
                    </a:lnTo>
                    <a:lnTo>
                      <a:pt x="634" y="347"/>
                    </a:lnTo>
                    <a:lnTo>
                      <a:pt x="601" y="386"/>
                    </a:lnTo>
                    <a:lnTo>
                      <a:pt x="596" y="386"/>
                    </a:lnTo>
                    <a:lnTo>
                      <a:pt x="568" y="408"/>
                    </a:lnTo>
                    <a:lnTo>
                      <a:pt x="546" y="430"/>
                    </a:lnTo>
                    <a:lnTo>
                      <a:pt x="540" y="452"/>
                    </a:lnTo>
                    <a:lnTo>
                      <a:pt x="546" y="507"/>
                    </a:lnTo>
                    <a:lnTo>
                      <a:pt x="535" y="524"/>
                    </a:lnTo>
                    <a:lnTo>
                      <a:pt x="496" y="551"/>
                    </a:lnTo>
                    <a:lnTo>
                      <a:pt x="480" y="596"/>
                    </a:lnTo>
                    <a:lnTo>
                      <a:pt x="502" y="623"/>
                    </a:lnTo>
                    <a:lnTo>
                      <a:pt x="502" y="640"/>
                    </a:lnTo>
                    <a:lnTo>
                      <a:pt x="496" y="662"/>
                    </a:lnTo>
                    <a:lnTo>
                      <a:pt x="491" y="689"/>
                    </a:lnTo>
                    <a:lnTo>
                      <a:pt x="496" y="739"/>
                    </a:lnTo>
                    <a:lnTo>
                      <a:pt x="518" y="772"/>
                    </a:lnTo>
                    <a:lnTo>
                      <a:pt x="540" y="772"/>
                    </a:lnTo>
                    <a:lnTo>
                      <a:pt x="562" y="789"/>
                    </a:lnTo>
                    <a:lnTo>
                      <a:pt x="584" y="800"/>
                    </a:lnTo>
                    <a:lnTo>
                      <a:pt x="612" y="833"/>
                    </a:lnTo>
                    <a:lnTo>
                      <a:pt x="662" y="871"/>
                    </a:lnTo>
                    <a:lnTo>
                      <a:pt x="678" y="888"/>
                    </a:lnTo>
                    <a:lnTo>
                      <a:pt x="678" y="927"/>
                    </a:lnTo>
                    <a:lnTo>
                      <a:pt x="529" y="932"/>
                    </a:lnTo>
                    <a:lnTo>
                      <a:pt x="83" y="938"/>
                    </a:lnTo>
                    <a:lnTo>
                      <a:pt x="83" y="673"/>
                    </a:lnTo>
                    <a:lnTo>
                      <a:pt x="77" y="651"/>
                    </a:lnTo>
                    <a:lnTo>
                      <a:pt x="50" y="623"/>
                    </a:lnTo>
                    <a:lnTo>
                      <a:pt x="39" y="612"/>
                    </a:lnTo>
                    <a:lnTo>
                      <a:pt x="39" y="601"/>
                    </a:lnTo>
                    <a:lnTo>
                      <a:pt x="55" y="590"/>
                    </a:lnTo>
                    <a:lnTo>
                      <a:pt x="66" y="579"/>
                    </a:lnTo>
                    <a:lnTo>
                      <a:pt x="66" y="557"/>
                    </a:lnTo>
                    <a:close/>
                  </a:path>
                </a:pathLst>
              </a:custGeom>
              <a:solidFill>
                <a:srgbClr val="104C10"/>
              </a:solidFill>
              <a:ln w="9525"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6" name="Freeform 52">
                <a:extLst/>
              </p:cNvPr>
              <p:cNvSpPr>
                <a:spLocks/>
              </p:cNvSpPr>
              <p:nvPr/>
            </p:nvSpPr>
            <p:spPr bwMode="auto">
              <a:xfrm>
                <a:off x="6669088" y="1147763"/>
                <a:ext cx="1068388" cy="1120775"/>
              </a:xfrm>
              <a:custGeom>
                <a:avLst/>
                <a:gdLst>
                  <a:gd name="T0" fmla="*/ 623 w 673"/>
                  <a:gd name="T1" fmla="*/ 662 h 706"/>
                  <a:gd name="T2" fmla="*/ 607 w 673"/>
                  <a:gd name="T3" fmla="*/ 585 h 706"/>
                  <a:gd name="T4" fmla="*/ 607 w 673"/>
                  <a:gd name="T5" fmla="*/ 546 h 706"/>
                  <a:gd name="T6" fmla="*/ 623 w 673"/>
                  <a:gd name="T7" fmla="*/ 502 h 706"/>
                  <a:gd name="T8" fmla="*/ 612 w 673"/>
                  <a:gd name="T9" fmla="*/ 452 h 706"/>
                  <a:gd name="T10" fmla="*/ 629 w 673"/>
                  <a:gd name="T11" fmla="*/ 425 h 706"/>
                  <a:gd name="T12" fmla="*/ 623 w 673"/>
                  <a:gd name="T13" fmla="*/ 392 h 706"/>
                  <a:gd name="T14" fmla="*/ 634 w 673"/>
                  <a:gd name="T15" fmla="*/ 347 h 706"/>
                  <a:gd name="T16" fmla="*/ 673 w 673"/>
                  <a:gd name="T17" fmla="*/ 259 h 706"/>
                  <a:gd name="T18" fmla="*/ 673 w 673"/>
                  <a:gd name="T19" fmla="*/ 232 h 706"/>
                  <a:gd name="T20" fmla="*/ 634 w 673"/>
                  <a:gd name="T21" fmla="*/ 287 h 706"/>
                  <a:gd name="T22" fmla="*/ 601 w 673"/>
                  <a:gd name="T23" fmla="*/ 325 h 706"/>
                  <a:gd name="T24" fmla="*/ 585 w 673"/>
                  <a:gd name="T25" fmla="*/ 347 h 706"/>
                  <a:gd name="T26" fmla="*/ 568 w 673"/>
                  <a:gd name="T27" fmla="*/ 364 h 706"/>
                  <a:gd name="T28" fmla="*/ 574 w 673"/>
                  <a:gd name="T29" fmla="*/ 331 h 706"/>
                  <a:gd name="T30" fmla="*/ 601 w 673"/>
                  <a:gd name="T31" fmla="*/ 287 h 706"/>
                  <a:gd name="T32" fmla="*/ 601 w 673"/>
                  <a:gd name="T33" fmla="*/ 259 h 706"/>
                  <a:gd name="T34" fmla="*/ 579 w 673"/>
                  <a:gd name="T35" fmla="*/ 176 h 706"/>
                  <a:gd name="T36" fmla="*/ 541 w 673"/>
                  <a:gd name="T37" fmla="*/ 149 h 706"/>
                  <a:gd name="T38" fmla="*/ 430 w 673"/>
                  <a:gd name="T39" fmla="*/ 121 h 706"/>
                  <a:gd name="T40" fmla="*/ 309 w 673"/>
                  <a:gd name="T41" fmla="*/ 94 h 706"/>
                  <a:gd name="T42" fmla="*/ 276 w 673"/>
                  <a:gd name="T43" fmla="*/ 66 h 706"/>
                  <a:gd name="T44" fmla="*/ 259 w 673"/>
                  <a:gd name="T45" fmla="*/ 55 h 706"/>
                  <a:gd name="T46" fmla="*/ 232 w 673"/>
                  <a:gd name="T47" fmla="*/ 50 h 706"/>
                  <a:gd name="T48" fmla="*/ 210 w 673"/>
                  <a:gd name="T49" fmla="*/ 55 h 706"/>
                  <a:gd name="T50" fmla="*/ 232 w 673"/>
                  <a:gd name="T51" fmla="*/ 16 h 706"/>
                  <a:gd name="T52" fmla="*/ 226 w 673"/>
                  <a:gd name="T53" fmla="*/ 0 h 706"/>
                  <a:gd name="T54" fmla="*/ 188 w 673"/>
                  <a:gd name="T55" fmla="*/ 16 h 706"/>
                  <a:gd name="T56" fmla="*/ 111 w 673"/>
                  <a:gd name="T57" fmla="*/ 44 h 706"/>
                  <a:gd name="T58" fmla="*/ 83 w 673"/>
                  <a:gd name="T59" fmla="*/ 38 h 706"/>
                  <a:gd name="T60" fmla="*/ 66 w 673"/>
                  <a:gd name="T61" fmla="*/ 77 h 706"/>
                  <a:gd name="T62" fmla="*/ 55 w 673"/>
                  <a:gd name="T63" fmla="*/ 149 h 706"/>
                  <a:gd name="T64" fmla="*/ 0 w 673"/>
                  <a:gd name="T65" fmla="*/ 226 h 706"/>
                  <a:gd name="T66" fmla="*/ 22 w 673"/>
                  <a:gd name="T67" fmla="*/ 243 h 706"/>
                  <a:gd name="T68" fmla="*/ 17 w 673"/>
                  <a:gd name="T69" fmla="*/ 287 h 706"/>
                  <a:gd name="T70" fmla="*/ 17 w 673"/>
                  <a:gd name="T71" fmla="*/ 364 h 706"/>
                  <a:gd name="T72" fmla="*/ 66 w 673"/>
                  <a:gd name="T73" fmla="*/ 386 h 706"/>
                  <a:gd name="T74" fmla="*/ 105 w 673"/>
                  <a:gd name="T75" fmla="*/ 414 h 706"/>
                  <a:gd name="T76" fmla="*/ 188 w 673"/>
                  <a:gd name="T77" fmla="*/ 485 h 706"/>
                  <a:gd name="T78" fmla="*/ 210 w 673"/>
                  <a:gd name="T79" fmla="*/ 563 h 706"/>
                  <a:gd name="T80" fmla="*/ 232 w 673"/>
                  <a:gd name="T81" fmla="*/ 596 h 706"/>
                  <a:gd name="T82" fmla="*/ 215 w 673"/>
                  <a:gd name="T83" fmla="*/ 634 h 706"/>
                  <a:gd name="T84" fmla="*/ 237 w 673"/>
                  <a:gd name="T85" fmla="*/ 684 h 706"/>
                  <a:gd name="T86" fmla="*/ 276 w 673"/>
                  <a:gd name="T87" fmla="*/ 695 h 706"/>
                  <a:gd name="T88" fmla="*/ 353 w 673"/>
                  <a:gd name="T89" fmla="*/ 706 h 706"/>
                  <a:gd name="T90" fmla="*/ 618 w 673"/>
                  <a:gd name="T91" fmla="*/ 68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3" h="706">
                    <a:moveTo>
                      <a:pt x="618" y="684"/>
                    </a:moveTo>
                    <a:lnTo>
                      <a:pt x="623" y="662"/>
                    </a:lnTo>
                    <a:lnTo>
                      <a:pt x="612" y="629"/>
                    </a:lnTo>
                    <a:lnTo>
                      <a:pt x="607" y="585"/>
                    </a:lnTo>
                    <a:lnTo>
                      <a:pt x="596" y="568"/>
                    </a:lnTo>
                    <a:lnTo>
                      <a:pt x="607" y="546"/>
                    </a:lnTo>
                    <a:lnTo>
                      <a:pt x="612" y="524"/>
                    </a:lnTo>
                    <a:lnTo>
                      <a:pt x="623" y="502"/>
                    </a:lnTo>
                    <a:lnTo>
                      <a:pt x="618" y="480"/>
                    </a:lnTo>
                    <a:lnTo>
                      <a:pt x="612" y="452"/>
                    </a:lnTo>
                    <a:lnTo>
                      <a:pt x="612" y="441"/>
                    </a:lnTo>
                    <a:lnTo>
                      <a:pt x="629" y="425"/>
                    </a:lnTo>
                    <a:lnTo>
                      <a:pt x="629" y="403"/>
                    </a:lnTo>
                    <a:lnTo>
                      <a:pt x="623" y="392"/>
                    </a:lnTo>
                    <a:lnTo>
                      <a:pt x="629" y="375"/>
                    </a:lnTo>
                    <a:lnTo>
                      <a:pt x="634" y="347"/>
                    </a:lnTo>
                    <a:lnTo>
                      <a:pt x="651" y="309"/>
                    </a:lnTo>
                    <a:lnTo>
                      <a:pt x="673" y="259"/>
                    </a:lnTo>
                    <a:lnTo>
                      <a:pt x="673" y="243"/>
                    </a:lnTo>
                    <a:lnTo>
                      <a:pt x="673" y="232"/>
                    </a:lnTo>
                    <a:lnTo>
                      <a:pt x="667" y="237"/>
                    </a:lnTo>
                    <a:lnTo>
                      <a:pt x="634" y="287"/>
                    </a:lnTo>
                    <a:lnTo>
                      <a:pt x="618" y="314"/>
                    </a:lnTo>
                    <a:lnTo>
                      <a:pt x="601" y="325"/>
                    </a:lnTo>
                    <a:lnTo>
                      <a:pt x="596" y="342"/>
                    </a:lnTo>
                    <a:lnTo>
                      <a:pt x="585" y="347"/>
                    </a:lnTo>
                    <a:lnTo>
                      <a:pt x="579" y="364"/>
                    </a:lnTo>
                    <a:lnTo>
                      <a:pt x="568" y="364"/>
                    </a:lnTo>
                    <a:lnTo>
                      <a:pt x="563" y="347"/>
                    </a:lnTo>
                    <a:lnTo>
                      <a:pt x="574" y="331"/>
                    </a:lnTo>
                    <a:lnTo>
                      <a:pt x="590" y="298"/>
                    </a:lnTo>
                    <a:lnTo>
                      <a:pt x="601" y="287"/>
                    </a:lnTo>
                    <a:lnTo>
                      <a:pt x="612" y="265"/>
                    </a:lnTo>
                    <a:lnTo>
                      <a:pt x="601" y="259"/>
                    </a:lnTo>
                    <a:lnTo>
                      <a:pt x="590" y="248"/>
                    </a:lnTo>
                    <a:lnTo>
                      <a:pt x="579" y="176"/>
                    </a:lnTo>
                    <a:lnTo>
                      <a:pt x="552" y="165"/>
                    </a:lnTo>
                    <a:lnTo>
                      <a:pt x="541" y="149"/>
                    </a:lnTo>
                    <a:lnTo>
                      <a:pt x="447" y="127"/>
                    </a:lnTo>
                    <a:lnTo>
                      <a:pt x="430" y="121"/>
                    </a:lnTo>
                    <a:lnTo>
                      <a:pt x="370" y="105"/>
                    </a:lnTo>
                    <a:lnTo>
                      <a:pt x="309" y="94"/>
                    </a:lnTo>
                    <a:lnTo>
                      <a:pt x="276" y="55"/>
                    </a:lnTo>
                    <a:lnTo>
                      <a:pt x="276" y="66"/>
                    </a:lnTo>
                    <a:lnTo>
                      <a:pt x="265" y="66"/>
                    </a:lnTo>
                    <a:lnTo>
                      <a:pt x="259" y="55"/>
                    </a:lnTo>
                    <a:lnTo>
                      <a:pt x="243" y="50"/>
                    </a:lnTo>
                    <a:lnTo>
                      <a:pt x="232" y="50"/>
                    </a:lnTo>
                    <a:lnTo>
                      <a:pt x="221" y="61"/>
                    </a:lnTo>
                    <a:lnTo>
                      <a:pt x="210" y="55"/>
                    </a:lnTo>
                    <a:lnTo>
                      <a:pt x="215" y="38"/>
                    </a:lnTo>
                    <a:lnTo>
                      <a:pt x="232" y="16"/>
                    </a:lnTo>
                    <a:lnTo>
                      <a:pt x="237" y="11"/>
                    </a:lnTo>
                    <a:lnTo>
                      <a:pt x="226" y="0"/>
                    </a:lnTo>
                    <a:lnTo>
                      <a:pt x="210" y="5"/>
                    </a:lnTo>
                    <a:lnTo>
                      <a:pt x="188" y="16"/>
                    </a:lnTo>
                    <a:lnTo>
                      <a:pt x="133" y="44"/>
                    </a:lnTo>
                    <a:lnTo>
                      <a:pt x="111" y="44"/>
                    </a:lnTo>
                    <a:lnTo>
                      <a:pt x="88" y="44"/>
                    </a:lnTo>
                    <a:lnTo>
                      <a:pt x="83" y="38"/>
                    </a:lnTo>
                    <a:lnTo>
                      <a:pt x="66" y="55"/>
                    </a:lnTo>
                    <a:lnTo>
                      <a:pt x="66" y="77"/>
                    </a:lnTo>
                    <a:lnTo>
                      <a:pt x="66" y="138"/>
                    </a:lnTo>
                    <a:lnTo>
                      <a:pt x="55" y="149"/>
                    </a:lnTo>
                    <a:lnTo>
                      <a:pt x="17" y="182"/>
                    </a:lnTo>
                    <a:lnTo>
                      <a:pt x="0" y="226"/>
                    </a:lnTo>
                    <a:lnTo>
                      <a:pt x="6" y="226"/>
                    </a:lnTo>
                    <a:lnTo>
                      <a:pt x="22" y="243"/>
                    </a:lnTo>
                    <a:lnTo>
                      <a:pt x="28" y="265"/>
                    </a:lnTo>
                    <a:lnTo>
                      <a:pt x="17" y="287"/>
                    </a:lnTo>
                    <a:lnTo>
                      <a:pt x="17" y="314"/>
                    </a:lnTo>
                    <a:lnTo>
                      <a:pt x="17" y="364"/>
                    </a:lnTo>
                    <a:lnTo>
                      <a:pt x="39" y="386"/>
                    </a:lnTo>
                    <a:lnTo>
                      <a:pt x="66" y="386"/>
                    </a:lnTo>
                    <a:lnTo>
                      <a:pt x="77" y="408"/>
                    </a:lnTo>
                    <a:lnTo>
                      <a:pt x="105" y="414"/>
                    </a:lnTo>
                    <a:lnTo>
                      <a:pt x="133" y="458"/>
                    </a:lnTo>
                    <a:lnTo>
                      <a:pt x="188" y="485"/>
                    </a:lnTo>
                    <a:lnTo>
                      <a:pt x="199" y="507"/>
                    </a:lnTo>
                    <a:lnTo>
                      <a:pt x="210" y="563"/>
                    </a:lnTo>
                    <a:lnTo>
                      <a:pt x="210" y="585"/>
                    </a:lnTo>
                    <a:lnTo>
                      <a:pt x="232" y="596"/>
                    </a:lnTo>
                    <a:lnTo>
                      <a:pt x="232" y="607"/>
                    </a:lnTo>
                    <a:lnTo>
                      <a:pt x="215" y="634"/>
                    </a:lnTo>
                    <a:lnTo>
                      <a:pt x="215" y="656"/>
                    </a:lnTo>
                    <a:lnTo>
                      <a:pt x="237" y="684"/>
                    </a:lnTo>
                    <a:lnTo>
                      <a:pt x="254" y="695"/>
                    </a:lnTo>
                    <a:lnTo>
                      <a:pt x="276" y="695"/>
                    </a:lnTo>
                    <a:lnTo>
                      <a:pt x="287" y="706"/>
                    </a:lnTo>
                    <a:lnTo>
                      <a:pt x="353" y="706"/>
                    </a:lnTo>
                    <a:lnTo>
                      <a:pt x="546" y="695"/>
                    </a:lnTo>
                    <a:lnTo>
                      <a:pt x="618" y="68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7" name="Freeform 53">
                <a:extLst/>
              </p:cNvPr>
              <p:cNvSpPr>
                <a:spLocks/>
              </p:cNvSpPr>
              <p:nvPr/>
            </p:nvSpPr>
            <p:spPr bwMode="auto">
              <a:xfrm>
                <a:off x="6161088" y="2786063"/>
                <a:ext cx="1339850" cy="1173163"/>
              </a:xfrm>
              <a:custGeom>
                <a:avLst/>
                <a:gdLst>
                  <a:gd name="T0" fmla="*/ 502 w 844"/>
                  <a:gd name="T1" fmla="*/ 16 h 739"/>
                  <a:gd name="T2" fmla="*/ 436 w 844"/>
                  <a:gd name="T3" fmla="*/ 5 h 739"/>
                  <a:gd name="T4" fmla="*/ 177 w 844"/>
                  <a:gd name="T5" fmla="*/ 16 h 739"/>
                  <a:gd name="T6" fmla="*/ 17 w 844"/>
                  <a:gd name="T7" fmla="*/ 16 h 739"/>
                  <a:gd name="T8" fmla="*/ 11 w 844"/>
                  <a:gd name="T9" fmla="*/ 38 h 739"/>
                  <a:gd name="T10" fmla="*/ 28 w 844"/>
                  <a:gd name="T11" fmla="*/ 82 h 739"/>
                  <a:gd name="T12" fmla="*/ 72 w 844"/>
                  <a:gd name="T13" fmla="*/ 132 h 739"/>
                  <a:gd name="T14" fmla="*/ 100 w 844"/>
                  <a:gd name="T15" fmla="*/ 138 h 739"/>
                  <a:gd name="T16" fmla="*/ 89 w 844"/>
                  <a:gd name="T17" fmla="*/ 176 h 739"/>
                  <a:gd name="T18" fmla="*/ 100 w 844"/>
                  <a:gd name="T19" fmla="*/ 215 h 739"/>
                  <a:gd name="T20" fmla="*/ 138 w 844"/>
                  <a:gd name="T21" fmla="*/ 253 h 739"/>
                  <a:gd name="T22" fmla="*/ 138 w 844"/>
                  <a:gd name="T23" fmla="*/ 595 h 739"/>
                  <a:gd name="T24" fmla="*/ 144 w 844"/>
                  <a:gd name="T25" fmla="*/ 673 h 739"/>
                  <a:gd name="T26" fmla="*/ 491 w 844"/>
                  <a:gd name="T27" fmla="*/ 667 h 739"/>
                  <a:gd name="T28" fmla="*/ 728 w 844"/>
                  <a:gd name="T29" fmla="*/ 656 h 739"/>
                  <a:gd name="T30" fmla="*/ 739 w 844"/>
                  <a:gd name="T31" fmla="*/ 706 h 739"/>
                  <a:gd name="T32" fmla="*/ 712 w 844"/>
                  <a:gd name="T33" fmla="*/ 739 h 739"/>
                  <a:gd name="T34" fmla="*/ 778 w 844"/>
                  <a:gd name="T35" fmla="*/ 739 h 739"/>
                  <a:gd name="T36" fmla="*/ 794 w 844"/>
                  <a:gd name="T37" fmla="*/ 651 h 739"/>
                  <a:gd name="T38" fmla="*/ 828 w 844"/>
                  <a:gd name="T39" fmla="*/ 629 h 739"/>
                  <a:gd name="T40" fmla="*/ 844 w 844"/>
                  <a:gd name="T41" fmla="*/ 601 h 739"/>
                  <a:gd name="T42" fmla="*/ 839 w 844"/>
                  <a:gd name="T43" fmla="*/ 573 h 739"/>
                  <a:gd name="T44" fmla="*/ 806 w 844"/>
                  <a:gd name="T45" fmla="*/ 557 h 739"/>
                  <a:gd name="T46" fmla="*/ 800 w 844"/>
                  <a:gd name="T47" fmla="*/ 507 h 739"/>
                  <a:gd name="T48" fmla="*/ 772 w 844"/>
                  <a:gd name="T49" fmla="*/ 446 h 739"/>
                  <a:gd name="T50" fmla="*/ 684 w 844"/>
                  <a:gd name="T51" fmla="*/ 397 h 739"/>
                  <a:gd name="T52" fmla="*/ 679 w 844"/>
                  <a:gd name="T53" fmla="*/ 347 h 739"/>
                  <a:gd name="T54" fmla="*/ 695 w 844"/>
                  <a:gd name="T55" fmla="*/ 281 h 739"/>
                  <a:gd name="T56" fmla="*/ 629 w 844"/>
                  <a:gd name="T57" fmla="*/ 264 h 739"/>
                  <a:gd name="T58" fmla="*/ 624 w 844"/>
                  <a:gd name="T59" fmla="*/ 220 h 739"/>
                  <a:gd name="T60" fmla="*/ 530 w 844"/>
                  <a:gd name="T61" fmla="*/ 138 h 739"/>
                  <a:gd name="T62" fmla="*/ 513 w 844"/>
                  <a:gd name="T63" fmla="*/ 55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4" h="739">
                    <a:moveTo>
                      <a:pt x="519" y="38"/>
                    </a:moveTo>
                    <a:lnTo>
                      <a:pt x="502" y="16"/>
                    </a:lnTo>
                    <a:lnTo>
                      <a:pt x="491" y="0"/>
                    </a:lnTo>
                    <a:lnTo>
                      <a:pt x="436" y="5"/>
                    </a:lnTo>
                    <a:lnTo>
                      <a:pt x="364" y="5"/>
                    </a:lnTo>
                    <a:lnTo>
                      <a:pt x="177" y="16"/>
                    </a:lnTo>
                    <a:lnTo>
                      <a:pt x="78" y="16"/>
                    </a:lnTo>
                    <a:lnTo>
                      <a:pt x="17" y="16"/>
                    </a:lnTo>
                    <a:lnTo>
                      <a:pt x="0" y="16"/>
                    </a:lnTo>
                    <a:lnTo>
                      <a:pt x="11" y="38"/>
                    </a:lnTo>
                    <a:lnTo>
                      <a:pt x="11" y="55"/>
                    </a:lnTo>
                    <a:lnTo>
                      <a:pt x="28" y="82"/>
                    </a:lnTo>
                    <a:lnTo>
                      <a:pt x="50" y="110"/>
                    </a:lnTo>
                    <a:lnTo>
                      <a:pt x="72" y="132"/>
                    </a:lnTo>
                    <a:lnTo>
                      <a:pt x="89" y="132"/>
                    </a:lnTo>
                    <a:lnTo>
                      <a:pt x="100" y="138"/>
                    </a:lnTo>
                    <a:lnTo>
                      <a:pt x="100" y="160"/>
                    </a:lnTo>
                    <a:lnTo>
                      <a:pt x="89" y="176"/>
                    </a:lnTo>
                    <a:lnTo>
                      <a:pt x="83" y="193"/>
                    </a:lnTo>
                    <a:lnTo>
                      <a:pt x="100" y="215"/>
                    </a:lnTo>
                    <a:lnTo>
                      <a:pt x="116" y="237"/>
                    </a:lnTo>
                    <a:lnTo>
                      <a:pt x="138" y="253"/>
                    </a:lnTo>
                    <a:lnTo>
                      <a:pt x="144" y="336"/>
                    </a:lnTo>
                    <a:lnTo>
                      <a:pt x="138" y="595"/>
                    </a:lnTo>
                    <a:lnTo>
                      <a:pt x="144" y="629"/>
                    </a:lnTo>
                    <a:lnTo>
                      <a:pt x="144" y="673"/>
                    </a:lnTo>
                    <a:lnTo>
                      <a:pt x="320" y="673"/>
                    </a:lnTo>
                    <a:lnTo>
                      <a:pt x="491" y="667"/>
                    </a:lnTo>
                    <a:lnTo>
                      <a:pt x="640" y="662"/>
                    </a:lnTo>
                    <a:lnTo>
                      <a:pt x="728" y="656"/>
                    </a:lnTo>
                    <a:lnTo>
                      <a:pt x="745" y="684"/>
                    </a:lnTo>
                    <a:lnTo>
                      <a:pt x="739" y="706"/>
                    </a:lnTo>
                    <a:lnTo>
                      <a:pt x="717" y="722"/>
                    </a:lnTo>
                    <a:lnTo>
                      <a:pt x="712" y="739"/>
                    </a:lnTo>
                    <a:lnTo>
                      <a:pt x="750" y="739"/>
                    </a:lnTo>
                    <a:lnTo>
                      <a:pt x="778" y="739"/>
                    </a:lnTo>
                    <a:lnTo>
                      <a:pt x="794" y="695"/>
                    </a:lnTo>
                    <a:lnTo>
                      <a:pt x="794" y="651"/>
                    </a:lnTo>
                    <a:lnTo>
                      <a:pt x="817" y="640"/>
                    </a:lnTo>
                    <a:lnTo>
                      <a:pt x="828" y="629"/>
                    </a:lnTo>
                    <a:lnTo>
                      <a:pt x="844" y="617"/>
                    </a:lnTo>
                    <a:lnTo>
                      <a:pt x="844" y="601"/>
                    </a:lnTo>
                    <a:lnTo>
                      <a:pt x="844" y="584"/>
                    </a:lnTo>
                    <a:lnTo>
                      <a:pt x="839" y="573"/>
                    </a:lnTo>
                    <a:lnTo>
                      <a:pt x="817" y="573"/>
                    </a:lnTo>
                    <a:lnTo>
                      <a:pt x="806" y="557"/>
                    </a:lnTo>
                    <a:lnTo>
                      <a:pt x="794" y="524"/>
                    </a:lnTo>
                    <a:lnTo>
                      <a:pt x="800" y="507"/>
                    </a:lnTo>
                    <a:lnTo>
                      <a:pt x="783" y="480"/>
                    </a:lnTo>
                    <a:lnTo>
                      <a:pt x="772" y="446"/>
                    </a:lnTo>
                    <a:lnTo>
                      <a:pt x="734" y="441"/>
                    </a:lnTo>
                    <a:lnTo>
                      <a:pt x="684" y="397"/>
                    </a:lnTo>
                    <a:lnTo>
                      <a:pt x="673" y="369"/>
                    </a:lnTo>
                    <a:lnTo>
                      <a:pt x="679" y="347"/>
                    </a:lnTo>
                    <a:lnTo>
                      <a:pt x="695" y="303"/>
                    </a:lnTo>
                    <a:lnTo>
                      <a:pt x="695" y="281"/>
                    </a:lnTo>
                    <a:lnTo>
                      <a:pt x="684" y="270"/>
                    </a:lnTo>
                    <a:lnTo>
                      <a:pt x="629" y="264"/>
                    </a:lnTo>
                    <a:lnTo>
                      <a:pt x="624" y="253"/>
                    </a:lnTo>
                    <a:lnTo>
                      <a:pt x="624" y="220"/>
                    </a:lnTo>
                    <a:lnTo>
                      <a:pt x="585" y="198"/>
                    </a:lnTo>
                    <a:lnTo>
                      <a:pt x="530" y="138"/>
                    </a:lnTo>
                    <a:lnTo>
                      <a:pt x="513" y="88"/>
                    </a:lnTo>
                    <a:lnTo>
                      <a:pt x="513" y="55"/>
                    </a:lnTo>
                    <a:lnTo>
                      <a:pt x="519" y="3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8" name="Freeform 54">
                <a:extLst/>
              </p:cNvPr>
              <p:cNvSpPr>
                <a:spLocks/>
              </p:cNvSpPr>
              <p:nvPr/>
            </p:nvSpPr>
            <p:spPr bwMode="auto">
              <a:xfrm>
                <a:off x="6389688" y="3836988"/>
                <a:ext cx="1006475" cy="919163"/>
              </a:xfrm>
              <a:custGeom>
                <a:avLst/>
                <a:gdLst>
                  <a:gd name="T0" fmla="*/ 634 w 634"/>
                  <a:gd name="T1" fmla="*/ 77 h 579"/>
                  <a:gd name="T2" fmla="*/ 606 w 634"/>
                  <a:gd name="T3" fmla="*/ 88 h 579"/>
                  <a:gd name="T4" fmla="*/ 562 w 634"/>
                  <a:gd name="T5" fmla="*/ 82 h 579"/>
                  <a:gd name="T6" fmla="*/ 562 w 634"/>
                  <a:gd name="T7" fmla="*/ 60 h 579"/>
                  <a:gd name="T8" fmla="*/ 590 w 634"/>
                  <a:gd name="T9" fmla="*/ 38 h 579"/>
                  <a:gd name="T10" fmla="*/ 590 w 634"/>
                  <a:gd name="T11" fmla="*/ 22 h 579"/>
                  <a:gd name="T12" fmla="*/ 579 w 634"/>
                  <a:gd name="T13" fmla="*/ 0 h 579"/>
                  <a:gd name="T14" fmla="*/ 496 w 634"/>
                  <a:gd name="T15" fmla="*/ 5 h 579"/>
                  <a:gd name="T16" fmla="*/ 347 w 634"/>
                  <a:gd name="T17" fmla="*/ 11 h 579"/>
                  <a:gd name="T18" fmla="*/ 171 w 634"/>
                  <a:gd name="T19" fmla="*/ 16 h 579"/>
                  <a:gd name="T20" fmla="*/ 0 w 634"/>
                  <a:gd name="T21" fmla="*/ 22 h 579"/>
                  <a:gd name="T22" fmla="*/ 16 w 634"/>
                  <a:gd name="T23" fmla="*/ 71 h 579"/>
                  <a:gd name="T24" fmla="*/ 16 w 634"/>
                  <a:gd name="T25" fmla="*/ 132 h 579"/>
                  <a:gd name="T26" fmla="*/ 22 w 634"/>
                  <a:gd name="T27" fmla="*/ 209 h 579"/>
                  <a:gd name="T28" fmla="*/ 27 w 634"/>
                  <a:gd name="T29" fmla="*/ 491 h 579"/>
                  <a:gd name="T30" fmla="*/ 44 w 634"/>
                  <a:gd name="T31" fmla="*/ 502 h 579"/>
                  <a:gd name="T32" fmla="*/ 66 w 634"/>
                  <a:gd name="T33" fmla="*/ 496 h 579"/>
                  <a:gd name="T34" fmla="*/ 82 w 634"/>
                  <a:gd name="T35" fmla="*/ 502 h 579"/>
                  <a:gd name="T36" fmla="*/ 88 w 634"/>
                  <a:gd name="T37" fmla="*/ 579 h 579"/>
                  <a:gd name="T38" fmla="*/ 253 w 634"/>
                  <a:gd name="T39" fmla="*/ 579 h 579"/>
                  <a:gd name="T40" fmla="*/ 397 w 634"/>
                  <a:gd name="T41" fmla="*/ 573 h 579"/>
                  <a:gd name="T42" fmla="*/ 468 w 634"/>
                  <a:gd name="T43" fmla="*/ 568 h 579"/>
                  <a:gd name="T44" fmla="*/ 480 w 634"/>
                  <a:gd name="T45" fmla="*/ 557 h 579"/>
                  <a:gd name="T46" fmla="*/ 474 w 634"/>
                  <a:gd name="T47" fmla="*/ 529 h 579"/>
                  <a:gd name="T48" fmla="*/ 463 w 634"/>
                  <a:gd name="T49" fmla="*/ 507 h 579"/>
                  <a:gd name="T50" fmla="*/ 474 w 634"/>
                  <a:gd name="T51" fmla="*/ 496 h 579"/>
                  <a:gd name="T52" fmla="*/ 463 w 634"/>
                  <a:gd name="T53" fmla="*/ 480 h 579"/>
                  <a:gd name="T54" fmla="*/ 468 w 634"/>
                  <a:gd name="T55" fmla="*/ 458 h 579"/>
                  <a:gd name="T56" fmla="*/ 474 w 634"/>
                  <a:gd name="T57" fmla="*/ 419 h 579"/>
                  <a:gd name="T58" fmla="*/ 496 w 634"/>
                  <a:gd name="T59" fmla="*/ 402 h 579"/>
                  <a:gd name="T60" fmla="*/ 491 w 634"/>
                  <a:gd name="T61" fmla="*/ 386 h 579"/>
                  <a:gd name="T62" fmla="*/ 518 w 634"/>
                  <a:gd name="T63" fmla="*/ 347 h 579"/>
                  <a:gd name="T64" fmla="*/ 535 w 634"/>
                  <a:gd name="T65" fmla="*/ 336 h 579"/>
                  <a:gd name="T66" fmla="*/ 535 w 634"/>
                  <a:gd name="T67" fmla="*/ 325 h 579"/>
                  <a:gd name="T68" fmla="*/ 535 w 634"/>
                  <a:gd name="T69" fmla="*/ 314 h 579"/>
                  <a:gd name="T70" fmla="*/ 557 w 634"/>
                  <a:gd name="T71" fmla="*/ 270 h 579"/>
                  <a:gd name="T72" fmla="*/ 573 w 634"/>
                  <a:gd name="T73" fmla="*/ 259 h 579"/>
                  <a:gd name="T74" fmla="*/ 573 w 634"/>
                  <a:gd name="T75" fmla="*/ 237 h 579"/>
                  <a:gd name="T76" fmla="*/ 590 w 634"/>
                  <a:gd name="T77" fmla="*/ 226 h 579"/>
                  <a:gd name="T78" fmla="*/ 595 w 634"/>
                  <a:gd name="T79" fmla="*/ 198 h 579"/>
                  <a:gd name="T80" fmla="*/ 584 w 634"/>
                  <a:gd name="T81" fmla="*/ 165 h 579"/>
                  <a:gd name="T82" fmla="*/ 612 w 634"/>
                  <a:gd name="T83" fmla="*/ 149 h 579"/>
                  <a:gd name="T84" fmla="*/ 617 w 634"/>
                  <a:gd name="T85" fmla="*/ 132 h 579"/>
                  <a:gd name="T86" fmla="*/ 628 w 634"/>
                  <a:gd name="T87" fmla="*/ 104 h 579"/>
                  <a:gd name="T88" fmla="*/ 634 w 634"/>
                  <a:gd name="T89" fmla="*/ 77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4" h="579">
                    <a:moveTo>
                      <a:pt x="634" y="77"/>
                    </a:moveTo>
                    <a:lnTo>
                      <a:pt x="606" y="88"/>
                    </a:lnTo>
                    <a:lnTo>
                      <a:pt x="562" y="82"/>
                    </a:lnTo>
                    <a:lnTo>
                      <a:pt x="562" y="60"/>
                    </a:lnTo>
                    <a:lnTo>
                      <a:pt x="590" y="38"/>
                    </a:lnTo>
                    <a:lnTo>
                      <a:pt x="590" y="22"/>
                    </a:lnTo>
                    <a:lnTo>
                      <a:pt x="579" y="0"/>
                    </a:lnTo>
                    <a:lnTo>
                      <a:pt x="496" y="5"/>
                    </a:lnTo>
                    <a:lnTo>
                      <a:pt x="347" y="11"/>
                    </a:lnTo>
                    <a:lnTo>
                      <a:pt x="171" y="16"/>
                    </a:lnTo>
                    <a:lnTo>
                      <a:pt x="0" y="22"/>
                    </a:lnTo>
                    <a:lnTo>
                      <a:pt x="16" y="71"/>
                    </a:lnTo>
                    <a:lnTo>
                      <a:pt x="16" y="132"/>
                    </a:lnTo>
                    <a:lnTo>
                      <a:pt x="22" y="209"/>
                    </a:lnTo>
                    <a:lnTo>
                      <a:pt x="27" y="491"/>
                    </a:lnTo>
                    <a:lnTo>
                      <a:pt x="44" y="502"/>
                    </a:lnTo>
                    <a:lnTo>
                      <a:pt x="66" y="496"/>
                    </a:lnTo>
                    <a:lnTo>
                      <a:pt x="82" y="502"/>
                    </a:lnTo>
                    <a:lnTo>
                      <a:pt x="88" y="579"/>
                    </a:lnTo>
                    <a:lnTo>
                      <a:pt x="253" y="579"/>
                    </a:lnTo>
                    <a:lnTo>
                      <a:pt x="397" y="573"/>
                    </a:lnTo>
                    <a:lnTo>
                      <a:pt x="468" y="568"/>
                    </a:lnTo>
                    <a:lnTo>
                      <a:pt x="480" y="557"/>
                    </a:lnTo>
                    <a:lnTo>
                      <a:pt x="474" y="529"/>
                    </a:lnTo>
                    <a:lnTo>
                      <a:pt x="463" y="507"/>
                    </a:lnTo>
                    <a:lnTo>
                      <a:pt x="474" y="496"/>
                    </a:lnTo>
                    <a:lnTo>
                      <a:pt x="463" y="480"/>
                    </a:lnTo>
                    <a:lnTo>
                      <a:pt x="468" y="458"/>
                    </a:lnTo>
                    <a:lnTo>
                      <a:pt x="474" y="419"/>
                    </a:lnTo>
                    <a:lnTo>
                      <a:pt x="496" y="402"/>
                    </a:lnTo>
                    <a:lnTo>
                      <a:pt x="491" y="386"/>
                    </a:lnTo>
                    <a:lnTo>
                      <a:pt x="518" y="347"/>
                    </a:lnTo>
                    <a:lnTo>
                      <a:pt x="535" y="336"/>
                    </a:lnTo>
                    <a:lnTo>
                      <a:pt x="535" y="325"/>
                    </a:lnTo>
                    <a:lnTo>
                      <a:pt x="535" y="314"/>
                    </a:lnTo>
                    <a:lnTo>
                      <a:pt x="557" y="270"/>
                    </a:lnTo>
                    <a:lnTo>
                      <a:pt x="573" y="259"/>
                    </a:lnTo>
                    <a:lnTo>
                      <a:pt x="573" y="237"/>
                    </a:lnTo>
                    <a:lnTo>
                      <a:pt x="590" y="226"/>
                    </a:lnTo>
                    <a:lnTo>
                      <a:pt x="595" y="198"/>
                    </a:lnTo>
                    <a:lnTo>
                      <a:pt x="584" y="165"/>
                    </a:lnTo>
                    <a:lnTo>
                      <a:pt x="612" y="149"/>
                    </a:lnTo>
                    <a:lnTo>
                      <a:pt x="617" y="132"/>
                    </a:lnTo>
                    <a:lnTo>
                      <a:pt x="628" y="104"/>
                    </a:lnTo>
                    <a:lnTo>
                      <a:pt x="634" y="7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9" name="Freeform 55">
                <a:extLst/>
              </p:cNvPr>
              <p:cNvSpPr>
                <a:spLocks/>
              </p:cNvSpPr>
              <p:nvPr/>
            </p:nvSpPr>
            <p:spPr bwMode="auto">
              <a:xfrm>
                <a:off x="4673600" y="3687763"/>
                <a:ext cx="1751013" cy="928688"/>
              </a:xfrm>
              <a:custGeom>
                <a:avLst/>
                <a:gdLst>
                  <a:gd name="T0" fmla="*/ 49 w 1103"/>
                  <a:gd name="T1" fmla="*/ 5 h 585"/>
                  <a:gd name="T2" fmla="*/ 5 w 1103"/>
                  <a:gd name="T3" fmla="*/ 0 h 585"/>
                  <a:gd name="T4" fmla="*/ 160 w 1103"/>
                  <a:gd name="T5" fmla="*/ 88 h 585"/>
                  <a:gd name="T6" fmla="*/ 380 w 1103"/>
                  <a:gd name="T7" fmla="*/ 281 h 585"/>
                  <a:gd name="T8" fmla="*/ 380 w 1103"/>
                  <a:gd name="T9" fmla="*/ 419 h 585"/>
                  <a:gd name="T10" fmla="*/ 424 w 1103"/>
                  <a:gd name="T11" fmla="*/ 458 h 585"/>
                  <a:gd name="T12" fmla="*/ 436 w 1103"/>
                  <a:gd name="T13" fmla="*/ 441 h 585"/>
                  <a:gd name="T14" fmla="*/ 463 w 1103"/>
                  <a:gd name="T15" fmla="*/ 452 h 585"/>
                  <a:gd name="T16" fmla="*/ 480 w 1103"/>
                  <a:gd name="T17" fmla="*/ 452 h 585"/>
                  <a:gd name="T18" fmla="*/ 507 w 1103"/>
                  <a:gd name="T19" fmla="*/ 485 h 585"/>
                  <a:gd name="T20" fmla="*/ 557 w 1103"/>
                  <a:gd name="T21" fmla="*/ 496 h 585"/>
                  <a:gd name="T22" fmla="*/ 590 w 1103"/>
                  <a:gd name="T23" fmla="*/ 496 h 585"/>
                  <a:gd name="T24" fmla="*/ 634 w 1103"/>
                  <a:gd name="T25" fmla="*/ 524 h 585"/>
                  <a:gd name="T26" fmla="*/ 645 w 1103"/>
                  <a:gd name="T27" fmla="*/ 541 h 585"/>
                  <a:gd name="T28" fmla="*/ 678 w 1103"/>
                  <a:gd name="T29" fmla="*/ 529 h 585"/>
                  <a:gd name="T30" fmla="*/ 706 w 1103"/>
                  <a:gd name="T31" fmla="*/ 535 h 585"/>
                  <a:gd name="T32" fmla="*/ 750 w 1103"/>
                  <a:gd name="T33" fmla="*/ 568 h 585"/>
                  <a:gd name="T34" fmla="*/ 772 w 1103"/>
                  <a:gd name="T35" fmla="*/ 535 h 585"/>
                  <a:gd name="T36" fmla="*/ 788 w 1103"/>
                  <a:gd name="T37" fmla="*/ 546 h 585"/>
                  <a:gd name="T38" fmla="*/ 849 w 1103"/>
                  <a:gd name="T39" fmla="*/ 563 h 585"/>
                  <a:gd name="T40" fmla="*/ 882 w 1103"/>
                  <a:gd name="T41" fmla="*/ 563 h 585"/>
                  <a:gd name="T42" fmla="*/ 921 w 1103"/>
                  <a:gd name="T43" fmla="*/ 546 h 585"/>
                  <a:gd name="T44" fmla="*/ 954 w 1103"/>
                  <a:gd name="T45" fmla="*/ 535 h 585"/>
                  <a:gd name="T46" fmla="*/ 970 w 1103"/>
                  <a:gd name="T47" fmla="*/ 546 h 585"/>
                  <a:gd name="T48" fmla="*/ 1009 w 1103"/>
                  <a:gd name="T49" fmla="*/ 535 h 585"/>
                  <a:gd name="T50" fmla="*/ 1037 w 1103"/>
                  <a:gd name="T51" fmla="*/ 552 h 585"/>
                  <a:gd name="T52" fmla="*/ 1086 w 1103"/>
                  <a:gd name="T53" fmla="*/ 574 h 585"/>
                  <a:gd name="T54" fmla="*/ 1097 w 1103"/>
                  <a:gd name="T55" fmla="*/ 309 h 585"/>
                  <a:gd name="T56" fmla="*/ 1086 w 1103"/>
                  <a:gd name="T57" fmla="*/ 165 h 585"/>
                  <a:gd name="T58" fmla="*/ 1070 w 1103"/>
                  <a:gd name="T59" fmla="*/ 61 h 585"/>
                  <a:gd name="T60" fmla="*/ 981 w 1103"/>
                  <a:gd name="T61" fmla="*/ 38 h 585"/>
                  <a:gd name="T62" fmla="*/ 309 w 1103"/>
                  <a:gd name="T63" fmla="*/ 16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3" h="585">
                    <a:moveTo>
                      <a:pt x="127" y="5"/>
                    </a:moveTo>
                    <a:lnTo>
                      <a:pt x="49" y="5"/>
                    </a:lnTo>
                    <a:lnTo>
                      <a:pt x="5" y="0"/>
                    </a:lnTo>
                    <a:lnTo>
                      <a:pt x="5" y="0"/>
                    </a:lnTo>
                    <a:lnTo>
                      <a:pt x="0" y="77"/>
                    </a:lnTo>
                    <a:lnTo>
                      <a:pt x="160" y="88"/>
                    </a:lnTo>
                    <a:lnTo>
                      <a:pt x="397" y="99"/>
                    </a:lnTo>
                    <a:lnTo>
                      <a:pt x="380" y="281"/>
                    </a:lnTo>
                    <a:lnTo>
                      <a:pt x="375" y="408"/>
                    </a:lnTo>
                    <a:lnTo>
                      <a:pt x="380" y="419"/>
                    </a:lnTo>
                    <a:lnTo>
                      <a:pt x="408" y="447"/>
                    </a:lnTo>
                    <a:lnTo>
                      <a:pt x="424" y="458"/>
                    </a:lnTo>
                    <a:lnTo>
                      <a:pt x="430" y="458"/>
                    </a:lnTo>
                    <a:lnTo>
                      <a:pt x="436" y="441"/>
                    </a:lnTo>
                    <a:lnTo>
                      <a:pt x="447" y="452"/>
                    </a:lnTo>
                    <a:lnTo>
                      <a:pt x="463" y="452"/>
                    </a:lnTo>
                    <a:lnTo>
                      <a:pt x="463" y="441"/>
                    </a:lnTo>
                    <a:lnTo>
                      <a:pt x="480" y="452"/>
                    </a:lnTo>
                    <a:lnTo>
                      <a:pt x="480" y="480"/>
                    </a:lnTo>
                    <a:lnTo>
                      <a:pt x="507" y="485"/>
                    </a:lnTo>
                    <a:lnTo>
                      <a:pt x="524" y="491"/>
                    </a:lnTo>
                    <a:lnTo>
                      <a:pt x="557" y="496"/>
                    </a:lnTo>
                    <a:lnTo>
                      <a:pt x="573" y="513"/>
                    </a:lnTo>
                    <a:lnTo>
                      <a:pt x="590" y="496"/>
                    </a:lnTo>
                    <a:lnTo>
                      <a:pt x="618" y="502"/>
                    </a:lnTo>
                    <a:lnTo>
                      <a:pt x="634" y="524"/>
                    </a:lnTo>
                    <a:lnTo>
                      <a:pt x="645" y="524"/>
                    </a:lnTo>
                    <a:lnTo>
                      <a:pt x="645" y="541"/>
                    </a:lnTo>
                    <a:lnTo>
                      <a:pt x="662" y="546"/>
                    </a:lnTo>
                    <a:lnTo>
                      <a:pt x="678" y="529"/>
                    </a:lnTo>
                    <a:lnTo>
                      <a:pt x="689" y="535"/>
                    </a:lnTo>
                    <a:lnTo>
                      <a:pt x="706" y="535"/>
                    </a:lnTo>
                    <a:lnTo>
                      <a:pt x="717" y="552"/>
                    </a:lnTo>
                    <a:lnTo>
                      <a:pt x="750" y="568"/>
                    </a:lnTo>
                    <a:lnTo>
                      <a:pt x="761" y="563"/>
                    </a:lnTo>
                    <a:lnTo>
                      <a:pt x="772" y="535"/>
                    </a:lnTo>
                    <a:lnTo>
                      <a:pt x="783" y="535"/>
                    </a:lnTo>
                    <a:lnTo>
                      <a:pt x="788" y="546"/>
                    </a:lnTo>
                    <a:lnTo>
                      <a:pt x="822" y="552"/>
                    </a:lnTo>
                    <a:lnTo>
                      <a:pt x="849" y="563"/>
                    </a:lnTo>
                    <a:lnTo>
                      <a:pt x="871" y="568"/>
                    </a:lnTo>
                    <a:lnTo>
                      <a:pt x="882" y="563"/>
                    </a:lnTo>
                    <a:lnTo>
                      <a:pt x="888" y="546"/>
                    </a:lnTo>
                    <a:lnTo>
                      <a:pt x="921" y="546"/>
                    </a:lnTo>
                    <a:lnTo>
                      <a:pt x="937" y="552"/>
                    </a:lnTo>
                    <a:lnTo>
                      <a:pt x="954" y="535"/>
                    </a:lnTo>
                    <a:lnTo>
                      <a:pt x="965" y="535"/>
                    </a:lnTo>
                    <a:lnTo>
                      <a:pt x="970" y="546"/>
                    </a:lnTo>
                    <a:lnTo>
                      <a:pt x="998" y="546"/>
                    </a:lnTo>
                    <a:lnTo>
                      <a:pt x="1009" y="535"/>
                    </a:lnTo>
                    <a:lnTo>
                      <a:pt x="1026" y="535"/>
                    </a:lnTo>
                    <a:lnTo>
                      <a:pt x="1037" y="552"/>
                    </a:lnTo>
                    <a:lnTo>
                      <a:pt x="1064" y="568"/>
                    </a:lnTo>
                    <a:lnTo>
                      <a:pt x="1086" y="574"/>
                    </a:lnTo>
                    <a:lnTo>
                      <a:pt x="1103" y="585"/>
                    </a:lnTo>
                    <a:lnTo>
                      <a:pt x="1097" y="309"/>
                    </a:lnTo>
                    <a:lnTo>
                      <a:pt x="1086" y="226"/>
                    </a:lnTo>
                    <a:lnTo>
                      <a:pt x="1086" y="165"/>
                    </a:lnTo>
                    <a:lnTo>
                      <a:pt x="1075" y="116"/>
                    </a:lnTo>
                    <a:lnTo>
                      <a:pt x="1070" y="61"/>
                    </a:lnTo>
                    <a:lnTo>
                      <a:pt x="1070" y="33"/>
                    </a:lnTo>
                    <a:lnTo>
                      <a:pt x="981" y="38"/>
                    </a:lnTo>
                    <a:lnTo>
                      <a:pt x="640" y="33"/>
                    </a:lnTo>
                    <a:lnTo>
                      <a:pt x="309" y="16"/>
                    </a:lnTo>
                    <a:lnTo>
                      <a:pt x="127" y="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0" name="Freeform 56">
                <a:extLst/>
              </p:cNvPr>
              <p:cNvSpPr>
                <a:spLocks/>
              </p:cNvSpPr>
              <p:nvPr/>
            </p:nvSpPr>
            <p:spPr bwMode="auto">
              <a:xfrm>
                <a:off x="4880143" y="2925683"/>
                <a:ext cx="1497013" cy="796925"/>
              </a:xfrm>
              <a:custGeom>
                <a:avLst/>
                <a:gdLst>
                  <a:gd name="T0" fmla="*/ 938 w 943"/>
                  <a:gd name="T1" fmla="*/ 502 h 502"/>
                  <a:gd name="T2" fmla="*/ 844 w 943"/>
                  <a:gd name="T3" fmla="*/ 502 h 502"/>
                  <a:gd name="T4" fmla="*/ 508 w 943"/>
                  <a:gd name="T5" fmla="*/ 502 h 502"/>
                  <a:gd name="T6" fmla="*/ 177 w 943"/>
                  <a:gd name="T7" fmla="*/ 486 h 502"/>
                  <a:gd name="T8" fmla="*/ 0 w 943"/>
                  <a:gd name="T9" fmla="*/ 475 h 502"/>
                  <a:gd name="T10" fmla="*/ 28 w 943"/>
                  <a:gd name="T11" fmla="*/ 0 h 502"/>
                  <a:gd name="T12" fmla="*/ 188 w 943"/>
                  <a:gd name="T13" fmla="*/ 6 h 502"/>
                  <a:gd name="T14" fmla="*/ 486 w 943"/>
                  <a:gd name="T15" fmla="*/ 17 h 502"/>
                  <a:gd name="T16" fmla="*/ 811 w 943"/>
                  <a:gd name="T17" fmla="*/ 17 h 502"/>
                  <a:gd name="T18" fmla="*/ 849 w 943"/>
                  <a:gd name="T19" fmla="*/ 17 h 502"/>
                  <a:gd name="T20" fmla="*/ 872 w 943"/>
                  <a:gd name="T21" fmla="*/ 45 h 502"/>
                  <a:gd name="T22" fmla="*/ 894 w 943"/>
                  <a:gd name="T23" fmla="*/ 45 h 502"/>
                  <a:gd name="T24" fmla="*/ 899 w 943"/>
                  <a:gd name="T25" fmla="*/ 50 h 502"/>
                  <a:gd name="T26" fmla="*/ 899 w 943"/>
                  <a:gd name="T27" fmla="*/ 67 h 502"/>
                  <a:gd name="T28" fmla="*/ 888 w 943"/>
                  <a:gd name="T29" fmla="*/ 78 h 502"/>
                  <a:gd name="T30" fmla="*/ 883 w 943"/>
                  <a:gd name="T31" fmla="*/ 100 h 502"/>
                  <a:gd name="T32" fmla="*/ 899 w 943"/>
                  <a:gd name="T33" fmla="*/ 122 h 502"/>
                  <a:gd name="T34" fmla="*/ 916 w 943"/>
                  <a:gd name="T35" fmla="*/ 149 h 502"/>
                  <a:gd name="T36" fmla="*/ 938 w 943"/>
                  <a:gd name="T37" fmla="*/ 160 h 502"/>
                  <a:gd name="T38" fmla="*/ 943 w 943"/>
                  <a:gd name="T39" fmla="*/ 243 h 502"/>
                  <a:gd name="T40" fmla="*/ 938 w 943"/>
                  <a:gd name="T41"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3" h="502">
                    <a:moveTo>
                      <a:pt x="938" y="502"/>
                    </a:moveTo>
                    <a:lnTo>
                      <a:pt x="844" y="502"/>
                    </a:lnTo>
                    <a:lnTo>
                      <a:pt x="508" y="502"/>
                    </a:lnTo>
                    <a:lnTo>
                      <a:pt x="177" y="486"/>
                    </a:lnTo>
                    <a:lnTo>
                      <a:pt x="0" y="475"/>
                    </a:lnTo>
                    <a:lnTo>
                      <a:pt x="28" y="0"/>
                    </a:lnTo>
                    <a:lnTo>
                      <a:pt x="188" y="6"/>
                    </a:lnTo>
                    <a:lnTo>
                      <a:pt x="486" y="17"/>
                    </a:lnTo>
                    <a:lnTo>
                      <a:pt x="811" y="17"/>
                    </a:lnTo>
                    <a:lnTo>
                      <a:pt x="849" y="17"/>
                    </a:lnTo>
                    <a:lnTo>
                      <a:pt x="872" y="45"/>
                    </a:lnTo>
                    <a:lnTo>
                      <a:pt x="894" y="45"/>
                    </a:lnTo>
                    <a:lnTo>
                      <a:pt x="899" y="50"/>
                    </a:lnTo>
                    <a:lnTo>
                      <a:pt x="899" y="67"/>
                    </a:lnTo>
                    <a:lnTo>
                      <a:pt x="888" y="78"/>
                    </a:lnTo>
                    <a:lnTo>
                      <a:pt x="883" y="100"/>
                    </a:lnTo>
                    <a:lnTo>
                      <a:pt x="899" y="122"/>
                    </a:lnTo>
                    <a:lnTo>
                      <a:pt x="916" y="149"/>
                    </a:lnTo>
                    <a:lnTo>
                      <a:pt x="938" y="160"/>
                    </a:lnTo>
                    <a:lnTo>
                      <a:pt x="943" y="243"/>
                    </a:lnTo>
                    <a:lnTo>
                      <a:pt x="938" y="50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1" name="Freeform 57">
                <a:extLst/>
              </p:cNvPr>
              <p:cNvSpPr>
                <a:spLocks/>
              </p:cNvSpPr>
              <p:nvPr/>
            </p:nvSpPr>
            <p:spPr bwMode="auto">
              <a:xfrm>
                <a:off x="6529388" y="4756150"/>
                <a:ext cx="1155700" cy="1006475"/>
              </a:xfrm>
              <a:custGeom>
                <a:avLst/>
                <a:gdLst>
                  <a:gd name="T0" fmla="*/ 113 w 132"/>
                  <a:gd name="T1" fmla="*/ 77 h 115"/>
                  <a:gd name="T2" fmla="*/ 107 w 132"/>
                  <a:gd name="T3" fmla="*/ 68 h 115"/>
                  <a:gd name="T4" fmla="*/ 108 w 132"/>
                  <a:gd name="T5" fmla="*/ 57 h 115"/>
                  <a:gd name="T6" fmla="*/ 95 w 132"/>
                  <a:gd name="T7" fmla="*/ 59 h 115"/>
                  <a:gd name="T8" fmla="*/ 61 w 132"/>
                  <a:gd name="T9" fmla="*/ 56 h 115"/>
                  <a:gd name="T10" fmla="*/ 66 w 132"/>
                  <a:gd name="T11" fmla="*/ 37 h 115"/>
                  <a:gd name="T12" fmla="*/ 72 w 132"/>
                  <a:gd name="T13" fmla="*/ 22 h 115"/>
                  <a:gd name="T14" fmla="*/ 75 w 132"/>
                  <a:gd name="T15" fmla="*/ 19 h 115"/>
                  <a:gd name="T16" fmla="*/ 71 w 132"/>
                  <a:gd name="T17" fmla="*/ 13 h 115"/>
                  <a:gd name="T18" fmla="*/ 68 w 132"/>
                  <a:gd name="T19" fmla="*/ 0 h 115"/>
                  <a:gd name="T20" fmla="*/ 30 w 132"/>
                  <a:gd name="T21" fmla="*/ 1 h 115"/>
                  <a:gd name="T22" fmla="*/ 0 w 132"/>
                  <a:gd name="T23" fmla="*/ 14 h 115"/>
                  <a:gd name="T24" fmla="*/ 2 w 132"/>
                  <a:gd name="T25" fmla="*/ 32 h 115"/>
                  <a:gd name="T26" fmla="*/ 7 w 132"/>
                  <a:gd name="T27" fmla="*/ 44 h 115"/>
                  <a:gd name="T28" fmla="*/ 13 w 132"/>
                  <a:gd name="T29" fmla="*/ 55 h 115"/>
                  <a:gd name="T30" fmla="*/ 13 w 132"/>
                  <a:gd name="T31" fmla="*/ 68 h 115"/>
                  <a:gd name="T32" fmla="*/ 11 w 132"/>
                  <a:gd name="T33" fmla="*/ 77 h 115"/>
                  <a:gd name="T34" fmla="*/ 9 w 132"/>
                  <a:gd name="T35" fmla="*/ 90 h 115"/>
                  <a:gd name="T36" fmla="*/ 7 w 132"/>
                  <a:gd name="T37" fmla="*/ 99 h 115"/>
                  <a:gd name="T38" fmla="*/ 24 w 132"/>
                  <a:gd name="T39" fmla="*/ 97 h 115"/>
                  <a:gd name="T40" fmla="*/ 47 w 132"/>
                  <a:gd name="T41" fmla="*/ 103 h 115"/>
                  <a:gd name="T42" fmla="*/ 56 w 132"/>
                  <a:gd name="T43" fmla="*/ 103 h 115"/>
                  <a:gd name="T44" fmla="*/ 61 w 132"/>
                  <a:gd name="T45" fmla="*/ 101 h 115"/>
                  <a:gd name="T46" fmla="*/ 54 w 132"/>
                  <a:gd name="T47" fmla="*/ 100 h 115"/>
                  <a:gd name="T48" fmla="*/ 51 w 132"/>
                  <a:gd name="T49" fmla="*/ 96 h 115"/>
                  <a:gd name="T50" fmla="*/ 58 w 132"/>
                  <a:gd name="T51" fmla="*/ 97 h 115"/>
                  <a:gd name="T52" fmla="*/ 64 w 132"/>
                  <a:gd name="T53" fmla="*/ 96 h 115"/>
                  <a:gd name="T54" fmla="*/ 67 w 132"/>
                  <a:gd name="T55" fmla="*/ 103 h 115"/>
                  <a:gd name="T56" fmla="*/ 75 w 132"/>
                  <a:gd name="T57" fmla="*/ 105 h 115"/>
                  <a:gd name="T58" fmla="*/ 72 w 132"/>
                  <a:gd name="T59" fmla="*/ 109 h 115"/>
                  <a:gd name="T60" fmla="*/ 86 w 132"/>
                  <a:gd name="T61" fmla="*/ 115 h 115"/>
                  <a:gd name="T62" fmla="*/ 92 w 132"/>
                  <a:gd name="T63" fmla="*/ 110 h 115"/>
                  <a:gd name="T64" fmla="*/ 97 w 132"/>
                  <a:gd name="T65" fmla="*/ 108 h 115"/>
                  <a:gd name="T66" fmla="*/ 100 w 132"/>
                  <a:gd name="T67" fmla="*/ 113 h 115"/>
                  <a:gd name="T68" fmla="*/ 98 w 132"/>
                  <a:gd name="T69" fmla="*/ 115 h 115"/>
                  <a:gd name="T70" fmla="*/ 106 w 132"/>
                  <a:gd name="T71" fmla="*/ 109 h 115"/>
                  <a:gd name="T72" fmla="*/ 104 w 132"/>
                  <a:gd name="T73" fmla="*/ 107 h 115"/>
                  <a:gd name="T74" fmla="*/ 105 w 132"/>
                  <a:gd name="T75" fmla="*/ 103 h 115"/>
                  <a:gd name="T76" fmla="*/ 109 w 132"/>
                  <a:gd name="T77" fmla="*/ 101 h 115"/>
                  <a:gd name="T78" fmla="*/ 111 w 132"/>
                  <a:gd name="T79" fmla="*/ 106 h 115"/>
                  <a:gd name="T80" fmla="*/ 122 w 132"/>
                  <a:gd name="T81" fmla="*/ 110 h 115"/>
                  <a:gd name="T82" fmla="*/ 127 w 132"/>
                  <a:gd name="T83" fmla="*/ 112 h 115"/>
                  <a:gd name="T84" fmla="*/ 132 w 132"/>
                  <a:gd name="T85" fmla="*/ 109 h 115"/>
                  <a:gd name="T86" fmla="*/ 130 w 132"/>
                  <a:gd name="T87" fmla="*/ 107 h 115"/>
                  <a:gd name="T88" fmla="*/ 118 w 132"/>
                  <a:gd name="T89" fmla="*/ 102 h 115"/>
                  <a:gd name="T90" fmla="*/ 115 w 132"/>
                  <a:gd name="T91" fmla="*/ 95 h 115"/>
                  <a:gd name="T92" fmla="*/ 118 w 132"/>
                  <a:gd name="T93" fmla="*/ 95 h 115"/>
                  <a:gd name="T94" fmla="*/ 116 w 132"/>
                  <a:gd name="T95" fmla="*/ 93 h 115"/>
                  <a:gd name="T96" fmla="*/ 122 w 132"/>
                  <a:gd name="T97" fmla="*/ 89 h 115"/>
                  <a:gd name="T98" fmla="*/ 120 w 132"/>
                  <a:gd name="T99" fmla="*/ 83 h 115"/>
                  <a:gd name="T100" fmla="*/ 116 w 132"/>
                  <a:gd name="T101" fmla="*/ 86 h 115"/>
                  <a:gd name="T102" fmla="*/ 111 w 132"/>
                  <a:gd name="T103" fmla="*/ 88 h 115"/>
                  <a:gd name="T104" fmla="*/ 112 w 132"/>
                  <a:gd name="T105" fmla="*/ 83 h 115"/>
                  <a:gd name="T106" fmla="*/ 114 w 132"/>
                  <a:gd name="T107" fmla="*/ 8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2" h="115">
                    <a:moveTo>
                      <a:pt x="114" y="80"/>
                    </a:moveTo>
                    <a:cubicBezTo>
                      <a:pt x="113" y="77"/>
                      <a:pt x="113" y="77"/>
                      <a:pt x="113" y="77"/>
                    </a:cubicBezTo>
                    <a:cubicBezTo>
                      <a:pt x="111" y="72"/>
                      <a:pt x="111" y="72"/>
                      <a:pt x="111" y="72"/>
                    </a:cubicBezTo>
                    <a:cubicBezTo>
                      <a:pt x="107" y="68"/>
                      <a:pt x="107" y="68"/>
                      <a:pt x="107" y="68"/>
                    </a:cubicBezTo>
                    <a:cubicBezTo>
                      <a:pt x="108" y="59"/>
                      <a:pt x="108" y="59"/>
                      <a:pt x="108" y="59"/>
                    </a:cubicBezTo>
                    <a:cubicBezTo>
                      <a:pt x="108" y="57"/>
                      <a:pt x="108" y="57"/>
                      <a:pt x="108" y="57"/>
                    </a:cubicBezTo>
                    <a:cubicBezTo>
                      <a:pt x="106" y="58"/>
                      <a:pt x="106" y="58"/>
                      <a:pt x="106" y="58"/>
                    </a:cubicBezTo>
                    <a:cubicBezTo>
                      <a:pt x="95" y="59"/>
                      <a:pt x="95" y="59"/>
                      <a:pt x="95" y="59"/>
                    </a:cubicBezTo>
                    <a:cubicBezTo>
                      <a:pt x="62" y="59"/>
                      <a:pt x="62" y="59"/>
                      <a:pt x="62" y="59"/>
                    </a:cubicBezTo>
                    <a:cubicBezTo>
                      <a:pt x="61" y="56"/>
                      <a:pt x="61" y="56"/>
                      <a:pt x="61" y="56"/>
                    </a:cubicBezTo>
                    <a:cubicBezTo>
                      <a:pt x="62" y="45"/>
                      <a:pt x="62" y="45"/>
                      <a:pt x="62" y="45"/>
                    </a:cubicBezTo>
                    <a:cubicBezTo>
                      <a:pt x="66" y="37"/>
                      <a:pt x="66" y="37"/>
                      <a:pt x="66" y="37"/>
                    </a:cubicBezTo>
                    <a:cubicBezTo>
                      <a:pt x="73" y="25"/>
                      <a:pt x="73" y="25"/>
                      <a:pt x="73" y="25"/>
                    </a:cubicBezTo>
                    <a:cubicBezTo>
                      <a:pt x="72" y="22"/>
                      <a:pt x="72" y="22"/>
                      <a:pt x="72" y="22"/>
                    </a:cubicBezTo>
                    <a:cubicBezTo>
                      <a:pt x="74" y="21"/>
                      <a:pt x="74" y="21"/>
                      <a:pt x="74" y="21"/>
                    </a:cubicBezTo>
                    <a:cubicBezTo>
                      <a:pt x="75" y="19"/>
                      <a:pt x="75" y="19"/>
                      <a:pt x="75" y="19"/>
                    </a:cubicBezTo>
                    <a:cubicBezTo>
                      <a:pt x="72" y="16"/>
                      <a:pt x="72" y="16"/>
                      <a:pt x="72" y="16"/>
                    </a:cubicBezTo>
                    <a:cubicBezTo>
                      <a:pt x="71" y="13"/>
                      <a:pt x="71" y="13"/>
                      <a:pt x="71" y="13"/>
                    </a:cubicBezTo>
                    <a:cubicBezTo>
                      <a:pt x="69" y="8"/>
                      <a:pt x="69" y="8"/>
                      <a:pt x="69" y="8"/>
                    </a:cubicBezTo>
                    <a:cubicBezTo>
                      <a:pt x="68" y="0"/>
                      <a:pt x="68" y="0"/>
                      <a:pt x="68" y="0"/>
                    </a:cubicBezTo>
                    <a:cubicBezTo>
                      <a:pt x="55" y="0"/>
                      <a:pt x="55" y="0"/>
                      <a:pt x="55" y="0"/>
                    </a:cubicBezTo>
                    <a:cubicBezTo>
                      <a:pt x="30" y="1"/>
                      <a:pt x="30" y="1"/>
                      <a:pt x="30" y="1"/>
                    </a:cubicBezTo>
                    <a:cubicBezTo>
                      <a:pt x="0" y="1"/>
                      <a:pt x="0" y="1"/>
                      <a:pt x="0" y="1"/>
                    </a:cubicBezTo>
                    <a:cubicBezTo>
                      <a:pt x="0" y="14"/>
                      <a:pt x="0" y="14"/>
                      <a:pt x="0" y="14"/>
                    </a:cubicBezTo>
                    <a:cubicBezTo>
                      <a:pt x="1" y="26"/>
                      <a:pt x="1" y="26"/>
                      <a:pt x="1" y="26"/>
                    </a:cubicBezTo>
                    <a:cubicBezTo>
                      <a:pt x="2" y="32"/>
                      <a:pt x="2" y="32"/>
                      <a:pt x="2" y="32"/>
                    </a:cubicBezTo>
                    <a:cubicBezTo>
                      <a:pt x="5" y="37"/>
                      <a:pt x="5" y="37"/>
                      <a:pt x="5" y="37"/>
                    </a:cubicBezTo>
                    <a:cubicBezTo>
                      <a:pt x="7" y="44"/>
                      <a:pt x="7" y="44"/>
                      <a:pt x="7" y="44"/>
                    </a:cubicBezTo>
                    <a:cubicBezTo>
                      <a:pt x="12" y="51"/>
                      <a:pt x="12" y="51"/>
                      <a:pt x="12" y="51"/>
                    </a:cubicBezTo>
                    <a:cubicBezTo>
                      <a:pt x="13" y="55"/>
                      <a:pt x="13" y="55"/>
                      <a:pt x="13" y="55"/>
                    </a:cubicBezTo>
                    <a:cubicBezTo>
                      <a:pt x="14" y="56"/>
                      <a:pt x="14" y="56"/>
                      <a:pt x="14" y="56"/>
                    </a:cubicBezTo>
                    <a:cubicBezTo>
                      <a:pt x="13" y="68"/>
                      <a:pt x="13" y="68"/>
                      <a:pt x="13" y="68"/>
                    </a:cubicBezTo>
                    <a:cubicBezTo>
                      <a:pt x="9" y="74"/>
                      <a:pt x="9" y="74"/>
                      <a:pt x="9" y="74"/>
                    </a:cubicBezTo>
                    <a:cubicBezTo>
                      <a:pt x="11" y="77"/>
                      <a:pt x="11" y="77"/>
                      <a:pt x="11" y="77"/>
                    </a:cubicBezTo>
                    <a:cubicBezTo>
                      <a:pt x="10" y="80"/>
                      <a:pt x="10" y="80"/>
                      <a:pt x="10" y="80"/>
                    </a:cubicBezTo>
                    <a:cubicBezTo>
                      <a:pt x="9" y="90"/>
                      <a:pt x="9" y="90"/>
                      <a:pt x="9" y="90"/>
                    </a:cubicBezTo>
                    <a:cubicBezTo>
                      <a:pt x="7" y="94"/>
                      <a:pt x="7" y="94"/>
                      <a:pt x="7" y="94"/>
                    </a:cubicBezTo>
                    <a:cubicBezTo>
                      <a:pt x="7" y="99"/>
                      <a:pt x="7" y="99"/>
                      <a:pt x="7" y="99"/>
                    </a:cubicBezTo>
                    <a:cubicBezTo>
                      <a:pt x="14" y="97"/>
                      <a:pt x="14" y="97"/>
                      <a:pt x="14" y="97"/>
                    </a:cubicBezTo>
                    <a:cubicBezTo>
                      <a:pt x="24" y="97"/>
                      <a:pt x="24" y="97"/>
                      <a:pt x="24" y="97"/>
                    </a:cubicBezTo>
                    <a:cubicBezTo>
                      <a:pt x="38" y="101"/>
                      <a:pt x="38" y="101"/>
                      <a:pt x="38" y="101"/>
                    </a:cubicBezTo>
                    <a:cubicBezTo>
                      <a:pt x="47" y="103"/>
                      <a:pt x="47" y="103"/>
                      <a:pt x="47" y="103"/>
                    </a:cubicBezTo>
                    <a:cubicBezTo>
                      <a:pt x="52" y="101"/>
                      <a:pt x="52" y="101"/>
                      <a:pt x="52" y="101"/>
                    </a:cubicBezTo>
                    <a:cubicBezTo>
                      <a:pt x="56" y="103"/>
                      <a:pt x="56" y="103"/>
                      <a:pt x="56" y="103"/>
                    </a:cubicBezTo>
                    <a:cubicBezTo>
                      <a:pt x="60" y="104"/>
                      <a:pt x="60" y="104"/>
                      <a:pt x="60" y="104"/>
                    </a:cubicBezTo>
                    <a:cubicBezTo>
                      <a:pt x="61" y="101"/>
                      <a:pt x="61" y="101"/>
                      <a:pt x="61" y="101"/>
                    </a:cubicBezTo>
                    <a:cubicBezTo>
                      <a:pt x="57" y="99"/>
                      <a:pt x="57" y="99"/>
                      <a:pt x="57" y="99"/>
                    </a:cubicBezTo>
                    <a:cubicBezTo>
                      <a:pt x="54" y="100"/>
                      <a:pt x="54" y="100"/>
                      <a:pt x="54" y="100"/>
                    </a:cubicBezTo>
                    <a:cubicBezTo>
                      <a:pt x="50" y="98"/>
                      <a:pt x="50" y="98"/>
                      <a:pt x="50" y="98"/>
                    </a:cubicBezTo>
                    <a:cubicBezTo>
                      <a:pt x="50" y="98"/>
                      <a:pt x="50" y="96"/>
                      <a:pt x="51" y="96"/>
                    </a:cubicBezTo>
                    <a:cubicBezTo>
                      <a:pt x="52" y="96"/>
                      <a:pt x="55" y="95"/>
                      <a:pt x="55" y="95"/>
                    </a:cubicBezTo>
                    <a:cubicBezTo>
                      <a:pt x="58" y="97"/>
                      <a:pt x="58" y="97"/>
                      <a:pt x="58" y="97"/>
                    </a:cubicBezTo>
                    <a:cubicBezTo>
                      <a:pt x="60" y="95"/>
                      <a:pt x="60" y="95"/>
                      <a:pt x="60" y="95"/>
                    </a:cubicBezTo>
                    <a:cubicBezTo>
                      <a:pt x="64" y="96"/>
                      <a:pt x="64" y="96"/>
                      <a:pt x="64" y="96"/>
                    </a:cubicBezTo>
                    <a:cubicBezTo>
                      <a:pt x="66" y="99"/>
                      <a:pt x="66" y="99"/>
                      <a:pt x="66" y="99"/>
                    </a:cubicBezTo>
                    <a:cubicBezTo>
                      <a:pt x="67" y="103"/>
                      <a:pt x="67" y="103"/>
                      <a:pt x="67" y="103"/>
                    </a:cubicBezTo>
                    <a:cubicBezTo>
                      <a:pt x="73" y="103"/>
                      <a:pt x="73" y="103"/>
                      <a:pt x="73" y="103"/>
                    </a:cubicBezTo>
                    <a:cubicBezTo>
                      <a:pt x="75" y="105"/>
                      <a:pt x="75" y="105"/>
                      <a:pt x="75" y="105"/>
                    </a:cubicBezTo>
                    <a:cubicBezTo>
                      <a:pt x="74" y="107"/>
                      <a:pt x="74" y="107"/>
                      <a:pt x="74" y="107"/>
                    </a:cubicBezTo>
                    <a:cubicBezTo>
                      <a:pt x="72" y="109"/>
                      <a:pt x="72" y="109"/>
                      <a:pt x="72" y="109"/>
                    </a:cubicBezTo>
                    <a:cubicBezTo>
                      <a:pt x="74" y="111"/>
                      <a:pt x="74" y="111"/>
                      <a:pt x="74" y="111"/>
                    </a:cubicBezTo>
                    <a:cubicBezTo>
                      <a:pt x="86" y="115"/>
                      <a:pt x="86" y="115"/>
                      <a:pt x="86" y="115"/>
                    </a:cubicBezTo>
                    <a:cubicBezTo>
                      <a:pt x="90" y="114"/>
                      <a:pt x="90" y="114"/>
                      <a:pt x="90" y="114"/>
                    </a:cubicBezTo>
                    <a:cubicBezTo>
                      <a:pt x="92" y="110"/>
                      <a:pt x="92" y="110"/>
                      <a:pt x="92" y="110"/>
                    </a:cubicBezTo>
                    <a:cubicBezTo>
                      <a:pt x="95" y="110"/>
                      <a:pt x="95" y="110"/>
                      <a:pt x="95" y="110"/>
                    </a:cubicBezTo>
                    <a:cubicBezTo>
                      <a:pt x="97" y="108"/>
                      <a:pt x="97" y="108"/>
                      <a:pt x="97" y="108"/>
                    </a:cubicBezTo>
                    <a:cubicBezTo>
                      <a:pt x="99" y="109"/>
                      <a:pt x="99" y="109"/>
                      <a:pt x="99" y="109"/>
                    </a:cubicBezTo>
                    <a:cubicBezTo>
                      <a:pt x="100" y="113"/>
                      <a:pt x="100" y="113"/>
                      <a:pt x="100" y="113"/>
                    </a:cubicBezTo>
                    <a:cubicBezTo>
                      <a:pt x="97" y="114"/>
                      <a:pt x="97" y="114"/>
                      <a:pt x="97" y="114"/>
                    </a:cubicBezTo>
                    <a:cubicBezTo>
                      <a:pt x="98" y="115"/>
                      <a:pt x="98" y="115"/>
                      <a:pt x="98" y="115"/>
                    </a:cubicBezTo>
                    <a:cubicBezTo>
                      <a:pt x="103" y="113"/>
                      <a:pt x="103" y="113"/>
                      <a:pt x="103" y="113"/>
                    </a:cubicBezTo>
                    <a:cubicBezTo>
                      <a:pt x="106" y="109"/>
                      <a:pt x="106" y="109"/>
                      <a:pt x="106" y="109"/>
                    </a:cubicBezTo>
                    <a:cubicBezTo>
                      <a:pt x="107" y="108"/>
                      <a:pt x="107" y="108"/>
                      <a:pt x="107" y="108"/>
                    </a:cubicBezTo>
                    <a:cubicBezTo>
                      <a:pt x="104" y="107"/>
                      <a:pt x="104" y="107"/>
                      <a:pt x="104" y="107"/>
                    </a:cubicBezTo>
                    <a:cubicBezTo>
                      <a:pt x="105" y="105"/>
                      <a:pt x="105" y="105"/>
                      <a:pt x="105" y="105"/>
                    </a:cubicBezTo>
                    <a:cubicBezTo>
                      <a:pt x="105" y="103"/>
                      <a:pt x="105" y="103"/>
                      <a:pt x="105" y="103"/>
                    </a:cubicBezTo>
                    <a:cubicBezTo>
                      <a:pt x="108" y="103"/>
                      <a:pt x="108" y="103"/>
                      <a:pt x="108" y="103"/>
                    </a:cubicBezTo>
                    <a:cubicBezTo>
                      <a:pt x="109" y="101"/>
                      <a:pt x="109" y="101"/>
                      <a:pt x="109" y="101"/>
                    </a:cubicBezTo>
                    <a:cubicBezTo>
                      <a:pt x="110" y="102"/>
                      <a:pt x="110" y="102"/>
                      <a:pt x="110" y="102"/>
                    </a:cubicBezTo>
                    <a:cubicBezTo>
                      <a:pt x="110" y="102"/>
                      <a:pt x="110" y="106"/>
                      <a:pt x="111" y="106"/>
                    </a:cubicBezTo>
                    <a:cubicBezTo>
                      <a:pt x="112" y="106"/>
                      <a:pt x="116" y="107"/>
                      <a:pt x="116" y="107"/>
                    </a:cubicBezTo>
                    <a:cubicBezTo>
                      <a:pt x="122" y="110"/>
                      <a:pt x="122" y="110"/>
                      <a:pt x="122" y="110"/>
                    </a:cubicBezTo>
                    <a:cubicBezTo>
                      <a:pt x="123" y="112"/>
                      <a:pt x="123" y="112"/>
                      <a:pt x="123" y="112"/>
                    </a:cubicBezTo>
                    <a:cubicBezTo>
                      <a:pt x="127" y="112"/>
                      <a:pt x="127" y="112"/>
                      <a:pt x="127" y="112"/>
                    </a:cubicBezTo>
                    <a:cubicBezTo>
                      <a:pt x="129" y="113"/>
                      <a:pt x="129" y="113"/>
                      <a:pt x="129" y="113"/>
                    </a:cubicBezTo>
                    <a:cubicBezTo>
                      <a:pt x="132" y="109"/>
                      <a:pt x="132" y="109"/>
                      <a:pt x="132" y="109"/>
                    </a:cubicBezTo>
                    <a:cubicBezTo>
                      <a:pt x="132" y="107"/>
                      <a:pt x="132" y="107"/>
                      <a:pt x="132" y="107"/>
                    </a:cubicBezTo>
                    <a:cubicBezTo>
                      <a:pt x="130" y="107"/>
                      <a:pt x="130" y="107"/>
                      <a:pt x="130" y="107"/>
                    </a:cubicBezTo>
                    <a:cubicBezTo>
                      <a:pt x="125" y="103"/>
                      <a:pt x="125" y="103"/>
                      <a:pt x="125" y="103"/>
                    </a:cubicBezTo>
                    <a:cubicBezTo>
                      <a:pt x="118" y="102"/>
                      <a:pt x="118" y="102"/>
                      <a:pt x="118" y="102"/>
                    </a:cubicBezTo>
                    <a:cubicBezTo>
                      <a:pt x="113" y="99"/>
                      <a:pt x="113" y="99"/>
                      <a:pt x="113" y="99"/>
                    </a:cubicBezTo>
                    <a:cubicBezTo>
                      <a:pt x="115" y="95"/>
                      <a:pt x="115" y="95"/>
                      <a:pt x="115" y="95"/>
                    </a:cubicBezTo>
                    <a:cubicBezTo>
                      <a:pt x="118" y="96"/>
                      <a:pt x="118" y="96"/>
                      <a:pt x="118" y="96"/>
                    </a:cubicBezTo>
                    <a:cubicBezTo>
                      <a:pt x="118" y="95"/>
                      <a:pt x="118" y="95"/>
                      <a:pt x="118" y="95"/>
                    </a:cubicBezTo>
                    <a:cubicBezTo>
                      <a:pt x="116" y="94"/>
                      <a:pt x="116" y="94"/>
                      <a:pt x="116" y="94"/>
                    </a:cubicBezTo>
                    <a:cubicBezTo>
                      <a:pt x="116" y="93"/>
                      <a:pt x="116" y="93"/>
                      <a:pt x="116" y="93"/>
                    </a:cubicBezTo>
                    <a:cubicBezTo>
                      <a:pt x="120" y="93"/>
                      <a:pt x="120" y="93"/>
                      <a:pt x="120" y="93"/>
                    </a:cubicBezTo>
                    <a:cubicBezTo>
                      <a:pt x="122" y="89"/>
                      <a:pt x="122" y="89"/>
                      <a:pt x="122" y="89"/>
                    </a:cubicBezTo>
                    <a:cubicBezTo>
                      <a:pt x="121" y="86"/>
                      <a:pt x="121" y="86"/>
                      <a:pt x="121" y="86"/>
                    </a:cubicBezTo>
                    <a:cubicBezTo>
                      <a:pt x="120" y="83"/>
                      <a:pt x="120" y="83"/>
                      <a:pt x="120" y="83"/>
                    </a:cubicBezTo>
                    <a:cubicBezTo>
                      <a:pt x="118" y="83"/>
                      <a:pt x="118" y="83"/>
                      <a:pt x="118" y="83"/>
                    </a:cubicBezTo>
                    <a:cubicBezTo>
                      <a:pt x="116" y="86"/>
                      <a:pt x="116" y="86"/>
                      <a:pt x="116" y="86"/>
                    </a:cubicBezTo>
                    <a:cubicBezTo>
                      <a:pt x="115" y="89"/>
                      <a:pt x="115" y="89"/>
                      <a:pt x="115" y="89"/>
                    </a:cubicBezTo>
                    <a:cubicBezTo>
                      <a:pt x="111" y="88"/>
                      <a:pt x="111" y="88"/>
                      <a:pt x="111" y="88"/>
                    </a:cubicBezTo>
                    <a:cubicBezTo>
                      <a:pt x="109" y="86"/>
                      <a:pt x="109" y="86"/>
                      <a:pt x="109" y="86"/>
                    </a:cubicBezTo>
                    <a:cubicBezTo>
                      <a:pt x="112" y="83"/>
                      <a:pt x="112" y="83"/>
                      <a:pt x="112" y="83"/>
                    </a:cubicBezTo>
                    <a:cubicBezTo>
                      <a:pt x="114" y="81"/>
                      <a:pt x="114" y="81"/>
                      <a:pt x="114" y="81"/>
                    </a:cubicBezTo>
                    <a:lnTo>
                      <a:pt x="114" y="8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2" name="Freeform 58">
                <a:extLst/>
              </p:cNvPr>
              <p:cNvSpPr>
                <a:spLocks noEditPoints="1"/>
              </p:cNvSpPr>
              <p:nvPr/>
            </p:nvSpPr>
            <p:spPr bwMode="auto">
              <a:xfrm>
                <a:off x="8691563" y="2803525"/>
                <a:ext cx="1558925" cy="857249"/>
              </a:xfrm>
              <a:custGeom>
                <a:avLst/>
                <a:gdLst>
                  <a:gd name="T0" fmla="*/ 169 w 178"/>
                  <a:gd name="T1" fmla="*/ 29 h 98"/>
                  <a:gd name="T2" fmla="*/ 177 w 178"/>
                  <a:gd name="T3" fmla="*/ 30 h 98"/>
                  <a:gd name="T4" fmla="*/ 172 w 178"/>
                  <a:gd name="T5" fmla="*/ 41 h 98"/>
                  <a:gd name="T6" fmla="*/ 170 w 178"/>
                  <a:gd name="T7" fmla="*/ 52 h 98"/>
                  <a:gd name="T8" fmla="*/ 165 w 178"/>
                  <a:gd name="T9" fmla="*/ 48 h 98"/>
                  <a:gd name="T10" fmla="*/ 168 w 178"/>
                  <a:gd name="T11" fmla="*/ 35 h 98"/>
                  <a:gd name="T12" fmla="*/ 172 w 178"/>
                  <a:gd name="T13" fmla="*/ 69 h 98"/>
                  <a:gd name="T14" fmla="*/ 45 w 178"/>
                  <a:gd name="T15" fmla="*/ 93 h 98"/>
                  <a:gd name="T16" fmla="*/ 32 w 178"/>
                  <a:gd name="T17" fmla="*/ 95 h 98"/>
                  <a:gd name="T18" fmla="*/ 11 w 178"/>
                  <a:gd name="T19" fmla="*/ 97 h 98"/>
                  <a:gd name="T20" fmla="*/ 11 w 178"/>
                  <a:gd name="T21" fmla="*/ 91 h 98"/>
                  <a:gd name="T22" fmla="*/ 13 w 178"/>
                  <a:gd name="T23" fmla="*/ 86 h 98"/>
                  <a:gd name="T24" fmla="*/ 32 w 178"/>
                  <a:gd name="T25" fmla="*/ 76 h 98"/>
                  <a:gd name="T26" fmla="*/ 41 w 178"/>
                  <a:gd name="T27" fmla="*/ 76 h 98"/>
                  <a:gd name="T28" fmla="*/ 47 w 178"/>
                  <a:gd name="T29" fmla="*/ 76 h 98"/>
                  <a:gd name="T30" fmla="*/ 55 w 178"/>
                  <a:gd name="T31" fmla="*/ 68 h 98"/>
                  <a:gd name="T32" fmla="*/ 62 w 178"/>
                  <a:gd name="T33" fmla="*/ 66 h 98"/>
                  <a:gd name="T34" fmla="*/ 68 w 178"/>
                  <a:gd name="T35" fmla="*/ 62 h 98"/>
                  <a:gd name="T36" fmla="*/ 67 w 178"/>
                  <a:gd name="T37" fmla="*/ 57 h 98"/>
                  <a:gd name="T38" fmla="*/ 76 w 178"/>
                  <a:gd name="T39" fmla="*/ 38 h 98"/>
                  <a:gd name="T40" fmla="*/ 78 w 178"/>
                  <a:gd name="T41" fmla="*/ 30 h 98"/>
                  <a:gd name="T42" fmla="*/ 86 w 178"/>
                  <a:gd name="T43" fmla="*/ 33 h 98"/>
                  <a:gd name="T44" fmla="*/ 93 w 178"/>
                  <a:gd name="T45" fmla="*/ 22 h 98"/>
                  <a:gd name="T46" fmla="*/ 97 w 178"/>
                  <a:gd name="T47" fmla="*/ 15 h 98"/>
                  <a:gd name="T48" fmla="*/ 101 w 178"/>
                  <a:gd name="T49" fmla="*/ 8 h 98"/>
                  <a:gd name="T50" fmla="*/ 114 w 178"/>
                  <a:gd name="T51" fmla="*/ 6 h 98"/>
                  <a:gd name="T52" fmla="*/ 121 w 178"/>
                  <a:gd name="T53" fmla="*/ 1 h 98"/>
                  <a:gd name="T54" fmla="*/ 131 w 178"/>
                  <a:gd name="T55" fmla="*/ 9 h 98"/>
                  <a:gd name="T56" fmla="*/ 131 w 178"/>
                  <a:gd name="T57" fmla="*/ 16 h 98"/>
                  <a:gd name="T58" fmla="*/ 129 w 178"/>
                  <a:gd name="T59" fmla="*/ 20 h 98"/>
                  <a:gd name="T60" fmla="*/ 132 w 178"/>
                  <a:gd name="T61" fmla="*/ 25 h 98"/>
                  <a:gd name="T62" fmla="*/ 142 w 178"/>
                  <a:gd name="T63" fmla="*/ 28 h 98"/>
                  <a:gd name="T64" fmla="*/ 151 w 178"/>
                  <a:gd name="T65" fmla="*/ 32 h 98"/>
                  <a:gd name="T66" fmla="*/ 156 w 178"/>
                  <a:gd name="T67" fmla="*/ 35 h 98"/>
                  <a:gd name="T68" fmla="*/ 158 w 178"/>
                  <a:gd name="T69" fmla="*/ 42 h 98"/>
                  <a:gd name="T70" fmla="*/ 159 w 178"/>
                  <a:gd name="T71" fmla="*/ 46 h 98"/>
                  <a:gd name="T72" fmla="*/ 155 w 178"/>
                  <a:gd name="T73" fmla="*/ 48 h 98"/>
                  <a:gd name="T74" fmla="*/ 158 w 178"/>
                  <a:gd name="T75" fmla="*/ 52 h 98"/>
                  <a:gd name="T76" fmla="*/ 160 w 178"/>
                  <a:gd name="T77" fmla="*/ 56 h 98"/>
                  <a:gd name="T78" fmla="*/ 158 w 178"/>
                  <a:gd name="T79" fmla="*/ 61 h 98"/>
                  <a:gd name="T80" fmla="*/ 167 w 178"/>
                  <a:gd name="T81" fmla="*/ 6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98">
                    <a:moveTo>
                      <a:pt x="169" y="31"/>
                    </a:moveTo>
                    <a:cubicBezTo>
                      <a:pt x="169" y="29"/>
                      <a:pt x="169" y="29"/>
                      <a:pt x="169" y="29"/>
                    </a:cubicBezTo>
                    <a:cubicBezTo>
                      <a:pt x="178" y="25"/>
                      <a:pt x="178" y="25"/>
                      <a:pt x="178" y="25"/>
                    </a:cubicBezTo>
                    <a:cubicBezTo>
                      <a:pt x="177" y="30"/>
                      <a:pt x="177" y="30"/>
                      <a:pt x="177" y="30"/>
                    </a:cubicBezTo>
                    <a:cubicBezTo>
                      <a:pt x="173" y="35"/>
                      <a:pt x="173" y="35"/>
                      <a:pt x="173" y="35"/>
                    </a:cubicBezTo>
                    <a:cubicBezTo>
                      <a:pt x="172" y="41"/>
                      <a:pt x="172" y="41"/>
                      <a:pt x="172" y="41"/>
                    </a:cubicBezTo>
                    <a:cubicBezTo>
                      <a:pt x="173" y="45"/>
                      <a:pt x="173" y="45"/>
                      <a:pt x="173" y="45"/>
                    </a:cubicBezTo>
                    <a:cubicBezTo>
                      <a:pt x="170" y="52"/>
                      <a:pt x="170" y="52"/>
                      <a:pt x="170" y="52"/>
                    </a:cubicBezTo>
                    <a:cubicBezTo>
                      <a:pt x="167" y="54"/>
                      <a:pt x="167" y="54"/>
                      <a:pt x="167" y="54"/>
                    </a:cubicBezTo>
                    <a:cubicBezTo>
                      <a:pt x="165" y="48"/>
                      <a:pt x="165" y="48"/>
                      <a:pt x="165" y="48"/>
                    </a:cubicBezTo>
                    <a:cubicBezTo>
                      <a:pt x="166" y="41"/>
                      <a:pt x="166" y="41"/>
                      <a:pt x="166" y="41"/>
                    </a:cubicBezTo>
                    <a:cubicBezTo>
                      <a:pt x="168" y="35"/>
                      <a:pt x="168" y="35"/>
                      <a:pt x="168" y="35"/>
                    </a:cubicBezTo>
                    <a:lnTo>
                      <a:pt x="169" y="31"/>
                    </a:lnTo>
                    <a:close/>
                    <a:moveTo>
                      <a:pt x="172" y="69"/>
                    </a:moveTo>
                    <a:cubicBezTo>
                      <a:pt x="95" y="86"/>
                      <a:pt x="95" y="86"/>
                      <a:pt x="95" y="86"/>
                    </a:cubicBezTo>
                    <a:cubicBezTo>
                      <a:pt x="45" y="93"/>
                      <a:pt x="45" y="93"/>
                      <a:pt x="45" y="93"/>
                    </a:cubicBezTo>
                    <a:cubicBezTo>
                      <a:pt x="36" y="92"/>
                      <a:pt x="36" y="92"/>
                      <a:pt x="36" y="92"/>
                    </a:cubicBezTo>
                    <a:cubicBezTo>
                      <a:pt x="32" y="95"/>
                      <a:pt x="32" y="95"/>
                      <a:pt x="32" y="95"/>
                    </a:cubicBezTo>
                    <a:cubicBezTo>
                      <a:pt x="23" y="95"/>
                      <a:pt x="23" y="95"/>
                      <a:pt x="23" y="95"/>
                    </a:cubicBezTo>
                    <a:cubicBezTo>
                      <a:pt x="11" y="97"/>
                      <a:pt x="11" y="97"/>
                      <a:pt x="11" y="97"/>
                    </a:cubicBezTo>
                    <a:cubicBezTo>
                      <a:pt x="0" y="98"/>
                      <a:pt x="0" y="98"/>
                      <a:pt x="0" y="98"/>
                    </a:cubicBezTo>
                    <a:cubicBezTo>
                      <a:pt x="11" y="91"/>
                      <a:pt x="11" y="91"/>
                      <a:pt x="11" y="91"/>
                    </a:cubicBezTo>
                    <a:cubicBezTo>
                      <a:pt x="11" y="88"/>
                      <a:pt x="11" y="88"/>
                      <a:pt x="11" y="88"/>
                    </a:cubicBezTo>
                    <a:cubicBezTo>
                      <a:pt x="13" y="86"/>
                      <a:pt x="13" y="86"/>
                      <a:pt x="13" y="86"/>
                    </a:cubicBezTo>
                    <a:cubicBezTo>
                      <a:pt x="27" y="70"/>
                      <a:pt x="27" y="70"/>
                      <a:pt x="27" y="70"/>
                    </a:cubicBezTo>
                    <a:cubicBezTo>
                      <a:pt x="32" y="76"/>
                      <a:pt x="32" y="76"/>
                      <a:pt x="32" y="76"/>
                    </a:cubicBezTo>
                    <a:cubicBezTo>
                      <a:pt x="37" y="77"/>
                      <a:pt x="37" y="77"/>
                      <a:pt x="37" y="77"/>
                    </a:cubicBezTo>
                    <a:cubicBezTo>
                      <a:pt x="41" y="76"/>
                      <a:pt x="41" y="76"/>
                      <a:pt x="41" y="76"/>
                    </a:cubicBezTo>
                    <a:cubicBezTo>
                      <a:pt x="44" y="74"/>
                      <a:pt x="44" y="74"/>
                      <a:pt x="44" y="74"/>
                    </a:cubicBezTo>
                    <a:cubicBezTo>
                      <a:pt x="47" y="76"/>
                      <a:pt x="47" y="76"/>
                      <a:pt x="47" y="76"/>
                    </a:cubicBezTo>
                    <a:cubicBezTo>
                      <a:pt x="52" y="74"/>
                      <a:pt x="52" y="74"/>
                      <a:pt x="52" y="74"/>
                    </a:cubicBezTo>
                    <a:cubicBezTo>
                      <a:pt x="55" y="68"/>
                      <a:pt x="55" y="68"/>
                      <a:pt x="55" y="68"/>
                    </a:cubicBezTo>
                    <a:cubicBezTo>
                      <a:pt x="58" y="69"/>
                      <a:pt x="58" y="69"/>
                      <a:pt x="58" y="69"/>
                    </a:cubicBezTo>
                    <a:cubicBezTo>
                      <a:pt x="62" y="66"/>
                      <a:pt x="62" y="66"/>
                      <a:pt x="62" y="66"/>
                    </a:cubicBezTo>
                    <a:cubicBezTo>
                      <a:pt x="64" y="67"/>
                      <a:pt x="64" y="67"/>
                      <a:pt x="64" y="67"/>
                    </a:cubicBezTo>
                    <a:cubicBezTo>
                      <a:pt x="68" y="62"/>
                      <a:pt x="68" y="62"/>
                      <a:pt x="68" y="62"/>
                    </a:cubicBezTo>
                    <a:cubicBezTo>
                      <a:pt x="69" y="59"/>
                      <a:pt x="69" y="59"/>
                      <a:pt x="69" y="59"/>
                    </a:cubicBezTo>
                    <a:cubicBezTo>
                      <a:pt x="67" y="57"/>
                      <a:pt x="67" y="57"/>
                      <a:pt x="67" y="57"/>
                    </a:cubicBezTo>
                    <a:cubicBezTo>
                      <a:pt x="69" y="55"/>
                      <a:pt x="69" y="55"/>
                      <a:pt x="69" y="55"/>
                    </a:cubicBezTo>
                    <a:cubicBezTo>
                      <a:pt x="76" y="38"/>
                      <a:pt x="76" y="38"/>
                      <a:pt x="76" y="38"/>
                    </a:cubicBezTo>
                    <a:cubicBezTo>
                      <a:pt x="77" y="31"/>
                      <a:pt x="77" y="31"/>
                      <a:pt x="77" y="31"/>
                    </a:cubicBezTo>
                    <a:cubicBezTo>
                      <a:pt x="78" y="30"/>
                      <a:pt x="78" y="30"/>
                      <a:pt x="78" y="30"/>
                    </a:cubicBezTo>
                    <a:cubicBezTo>
                      <a:pt x="81" y="33"/>
                      <a:pt x="81" y="33"/>
                      <a:pt x="81" y="33"/>
                    </a:cubicBezTo>
                    <a:cubicBezTo>
                      <a:pt x="86" y="33"/>
                      <a:pt x="86" y="33"/>
                      <a:pt x="86" y="33"/>
                    </a:cubicBezTo>
                    <a:cubicBezTo>
                      <a:pt x="89" y="23"/>
                      <a:pt x="89" y="23"/>
                      <a:pt x="89" y="23"/>
                    </a:cubicBezTo>
                    <a:cubicBezTo>
                      <a:pt x="93" y="22"/>
                      <a:pt x="93" y="22"/>
                      <a:pt x="93" y="22"/>
                    </a:cubicBezTo>
                    <a:cubicBezTo>
                      <a:pt x="94" y="18"/>
                      <a:pt x="94" y="18"/>
                      <a:pt x="94" y="18"/>
                    </a:cubicBezTo>
                    <a:cubicBezTo>
                      <a:pt x="97" y="15"/>
                      <a:pt x="97" y="15"/>
                      <a:pt x="97" y="15"/>
                    </a:cubicBezTo>
                    <a:cubicBezTo>
                      <a:pt x="99" y="12"/>
                      <a:pt x="99" y="12"/>
                      <a:pt x="99" y="12"/>
                    </a:cubicBezTo>
                    <a:cubicBezTo>
                      <a:pt x="101" y="8"/>
                      <a:pt x="101" y="8"/>
                      <a:pt x="101" y="8"/>
                    </a:cubicBezTo>
                    <a:cubicBezTo>
                      <a:pt x="101" y="1"/>
                      <a:pt x="101" y="1"/>
                      <a:pt x="101" y="1"/>
                    </a:cubicBezTo>
                    <a:cubicBezTo>
                      <a:pt x="114" y="6"/>
                      <a:pt x="114" y="6"/>
                      <a:pt x="114" y="6"/>
                    </a:cubicBezTo>
                    <a:cubicBezTo>
                      <a:pt x="115" y="6"/>
                      <a:pt x="115" y="0"/>
                      <a:pt x="115" y="0"/>
                    </a:cubicBezTo>
                    <a:cubicBezTo>
                      <a:pt x="121" y="1"/>
                      <a:pt x="121" y="1"/>
                      <a:pt x="121" y="1"/>
                    </a:cubicBezTo>
                    <a:cubicBezTo>
                      <a:pt x="120" y="5"/>
                      <a:pt x="120" y="5"/>
                      <a:pt x="120" y="5"/>
                    </a:cubicBezTo>
                    <a:cubicBezTo>
                      <a:pt x="131" y="9"/>
                      <a:pt x="131" y="9"/>
                      <a:pt x="131" y="9"/>
                    </a:cubicBezTo>
                    <a:cubicBezTo>
                      <a:pt x="133" y="11"/>
                      <a:pt x="133" y="11"/>
                      <a:pt x="133" y="11"/>
                    </a:cubicBezTo>
                    <a:cubicBezTo>
                      <a:pt x="131" y="16"/>
                      <a:pt x="131" y="16"/>
                      <a:pt x="131" y="16"/>
                    </a:cubicBezTo>
                    <a:cubicBezTo>
                      <a:pt x="130" y="18"/>
                      <a:pt x="130" y="18"/>
                      <a:pt x="130" y="18"/>
                    </a:cubicBezTo>
                    <a:cubicBezTo>
                      <a:pt x="129" y="20"/>
                      <a:pt x="129" y="20"/>
                      <a:pt x="129" y="20"/>
                    </a:cubicBezTo>
                    <a:cubicBezTo>
                      <a:pt x="130" y="23"/>
                      <a:pt x="130" y="23"/>
                      <a:pt x="130" y="23"/>
                    </a:cubicBezTo>
                    <a:cubicBezTo>
                      <a:pt x="132" y="25"/>
                      <a:pt x="132" y="25"/>
                      <a:pt x="132" y="25"/>
                    </a:cubicBezTo>
                    <a:cubicBezTo>
                      <a:pt x="138" y="27"/>
                      <a:pt x="138" y="27"/>
                      <a:pt x="138" y="27"/>
                    </a:cubicBezTo>
                    <a:cubicBezTo>
                      <a:pt x="142" y="28"/>
                      <a:pt x="142" y="28"/>
                      <a:pt x="142" y="28"/>
                    </a:cubicBezTo>
                    <a:cubicBezTo>
                      <a:pt x="148" y="30"/>
                      <a:pt x="148" y="30"/>
                      <a:pt x="148" y="30"/>
                    </a:cubicBezTo>
                    <a:cubicBezTo>
                      <a:pt x="151" y="32"/>
                      <a:pt x="151" y="32"/>
                      <a:pt x="151" y="32"/>
                    </a:cubicBezTo>
                    <a:cubicBezTo>
                      <a:pt x="155" y="33"/>
                      <a:pt x="155" y="33"/>
                      <a:pt x="155" y="33"/>
                    </a:cubicBezTo>
                    <a:cubicBezTo>
                      <a:pt x="156" y="35"/>
                      <a:pt x="156" y="35"/>
                      <a:pt x="156" y="35"/>
                    </a:cubicBezTo>
                    <a:cubicBezTo>
                      <a:pt x="156" y="41"/>
                      <a:pt x="156" y="41"/>
                      <a:pt x="156" y="41"/>
                    </a:cubicBezTo>
                    <a:cubicBezTo>
                      <a:pt x="158" y="42"/>
                      <a:pt x="158" y="42"/>
                      <a:pt x="158" y="42"/>
                    </a:cubicBezTo>
                    <a:cubicBezTo>
                      <a:pt x="157" y="45"/>
                      <a:pt x="157" y="45"/>
                      <a:pt x="157" y="45"/>
                    </a:cubicBezTo>
                    <a:cubicBezTo>
                      <a:pt x="159" y="46"/>
                      <a:pt x="159" y="46"/>
                      <a:pt x="159" y="46"/>
                    </a:cubicBezTo>
                    <a:cubicBezTo>
                      <a:pt x="158" y="48"/>
                      <a:pt x="158" y="48"/>
                      <a:pt x="158" y="48"/>
                    </a:cubicBezTo>
                    <a:cubicBezTo>
                      <a:pt x="155" y="48"/>
                      <a:pt x="155" y="48"/>
                      <a:pt x="155" y="48"/>
                    </a:cubicBezTo>
                    <a:cubicBezTo>
                      <a:pt x="155" y="50"/>
                      <a:pt x="155" y="50"/>
                      <a:pt x="155" y="50"/>
                    </a:cubicBezTo>
                    <a:cubicBezTo>
                      <a:pt x="158" y="52"/>
                      <a:pt x="158" y="52"/>
                      <a:pt x="158" y="52"/>
                    </a:cubicBezTo>
                    <a:cubicBezTo>
                      <a:pt x="158" y="54"/>
                      <a:pt x="158" y="54"/>
                      <a:pt x="158" y="54"/>
                    </a:cubicBezTo>
                    <a:cubicBezTo>
                      <a:pt x="160" y="56"/>
                      <a:pt x="160" y="56"/>
                      <a:pt x="160" y="56"/>
                    </a:cubicBezTo>
                    <a:cubicBezTo>
                      <a:pt x="161" y="59"/>
                      <a:pt x="161" y="59"/>
                      <a:pt x="161" y="59"/>
                    </a:cubicBezTo>
                    <a:cubicBezTo>
                      <a:pt x="158" y="61"/>
                      <a:pt x="158" y="61"/>
                      <a:pt x="158" y="61"/>
                    </a:cubicBezTo>
                    <a:cubicBezTo>
                      <a:pt x="160" y="63"/>
                      <a:pt x="160" y="63"/>
                      <a:pt x="160" y="63"/>
                    </a:cubicBezTo>
                    <a:cubicBezTo>
                      <a:pt x="167" y="61"/>
                      <a:pt x="167" y="61"/>
                      <a:pt x="167" y="61"/>
                    </a:cubicBezTo>
                    <a:lnTo>
                      <a:pt x="172" y="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3" name="Freeform 59">
                <a:extLst/>
              </p:cNvPr>
              <p:cNvSpPr>
                <a:spLocks/>
              </p:cNvSpPr>
              <p:nvPr/>
            </p:nvSpPr>
            <p:spPr bwMode="auto">
              <a:xfrm>
                <a:off x="9829800" y="2846388"/>
                <a:ext cx="44450" cy="52388"/>
              </a:xfrm>
              <a:custGeom>
                <a:avLst/>
                <a:gdLst>
                  <a:gd name="T0" fmla="*/ 17 w 28"/>
                  <a:gd name="T1" fmla="*/ 33 h 33"/>
                  <a:gd name="T2" fmla="*/ 11 w 28"/>
                  <a:gd name="T3" fmla="*/ 22 h 33"/>
                  <a:gd name="T4" fmla="*/ 0 w 28"/>
                  <a:gd name="T5" fmla="*/ 11 h 33"/>
                  <a:gd name="T6" fmla="*/ 11 w 28"/>
                  <a:gd name="T7" fmla="*/ 0 h 33"/>
                  <a:gd name="T8" fmla="*/ 28 w 28"/>
                  <a:gd name="T9" fmla="*/ 11 h 33"/>
                  <a:gd name="T10" fmla="*/ 17 w 28"/>
                  <a:gd name="T11" fmla="*/ 33 h 33"/>
                </a:gdLst>
                <a:ahLst/>
                <a:cxnLst>
                  <a:cxn ang="0">
                    <a:pos x="T0" y="T1"/>
                  </a:cxn>
                  <a:cxn ang="0">
                    <a:pos x="T2" y="T3"/>
                  </a:cxn>
                  <a:cxn ang="0">
                    <a:pos x="T4" y="T5"/>
                  </a:cxn>
                  <a:cxn ang="0">
                    <a:pos x="T6" y="T7"/>
                  </a:cxn>
                  <a:cxn ang="0">
                    <a:pos x="T8" y="T9"/>
                  </a:cxn>
                  <a:cxn ang="0">
                    <a:pos x="T10" y="T11"/>
                  </a:cxn>
                </a:cxnLst>
                <a:rect l="0" t="0" r="r" b="b"/>
                <a:pathLst>
                  <a:path w="28" h="33">
                    <a:moveTo>
                      <a:pt x="17" y="33"/>
                    </a:moveTo>
                    <a:lnTo>
                      <a:pt x="11" y="22"/>
                    </a:lnTo>
                    <a:lnTo>
                      <a:pt x="0" y="11"/>
                    </a:lnTo>
                    <a:lnTo>
                      <a:pt x="11" y="0"/>
                    </a:lnTo>
                    <a:lnTo>
                      <a:pt x="28" y="11"/>
                    </a:lnTo>
                    <a:lnTo>
                      <a:pt x="17" y="33"/>
                    </a:ln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4" name="Freeform 60">
                <a:extLst/>
              </p:cNvPr>
              <p:cNvSpPr>
                <a:spLocks/>
              </p:cNvSpPr>
              <p:nvPr/>
            </p:nvSpPr>
            <p:spPr bwMode="auto">
              <a:xfrm>
                <a:off x="1181100" y="9525"/>
                <a:ext cx="1347788" cy="989013"/>
              </a:xfrm>
              <a:custGeom>
                <a:avLst/>
                <a:gdLst>
                  <a:gd name="T0" fmla="*/ 116 w 154"/>
                  <a:gd name="T1" fmla="*/ 107 h 113"/>
                  <a:gd name="T2" fmla="*/ 91 w 154"/>
                  <a:gd name="T3" fmla="*/ 103 h 113"/>
                  <a:gd name="T4" fmla="*/ 79 w 154"/>
                  <a:gd name="T5" fmla="*/ 103 h 113"/>
                  <a:gd name="T6" fmla="*/ 74 w 154"/>
                  <a:gd name="T7" fmla="*/ 103 h 113"/>
                  <a:gd name="T8" fmla="*/ 66 w 154"/>
                  <a:gd name="T9" fmla="*/ 103 h 113"/>
                  <a:gd name="T10" fmla="*/ 59 w 154"/>
                  <a:gd name="T11" fmla="*/ 102 h 113"/>
                  <a:gd name="T12" fmla="*/ 47 w 154"/>
                  <a:gd name="T13" fmla="*/ 99 h 113"/>
                  <a:gd name="T14" fmla="*/ 33 w 154"/>
                  <a:gd name="T15" fmla="*/ 97 h 113"/>
                  <a:gd name="T16" fmla="*/ 22 w 154"/>
                  <a:gd name="T17" fmla="*/ 88 h 113"/>
                  <a:gd name="T18" fmla="*/ 17 w 154"/>
                  <a:gd name="T19" fmla="*/ 75 h 113"/>
                  <a:gd name="T20" fmla="*/ 13 w 154"/>
                  <a:gd name="T21" fmla="*/ 73 h 113"/>
                  <a:gd name="T22" fmla="*/ 7 w 154"/>
                  <a:gd name="T23" fmla="*/ 70 h 113"/>
                  <a:gd name="T24" fmla="*/ 1 w 154"/>
                  <a:gd name="T25" fmla="*/ 69 h 113"/>
                  <a:gd name="T26" fmla="*/ 2 w 154"/>
                  <a:gd name="T27" fmla="*/ 64 h 113"/>
                  <a:gd name="T28" fmla="*/ 5 w 154"/>
                  <a:gd name="T29" fmla="*/ 57 h 113"/>
                  <a:gd name="T30" fmla="*/ 7 w 154"/>
                  <a:gd name="T31" fmla="*/ 51 h 113"/>
                  <a:gd name="T32" fmla="*/ 7 w 154"/>
                  <a:gd name="T33" fmla="*/ 48 h 113"/>
                  <a:gd name="T34" fmla="*/ 4 w 154"/>
                  <a:gd name="T35" fmla="*/ 34 h 113"/>
                  <a:gd name="T36" fmla="*/ 3 w 154"/>
                  <a:gd name="T37" fmla="*/ 21 h 113"/>
                  <a:gd name="T38" fmla="*/ 6 w 154"/>
                  <a:gd name="T39" fmla="*/ 7 h 113"/>
                  <a:gd name="T40" fmla="*/ 11 w 154"/>
                  <a:gd name="T41" fmla="*/ 11 h 113"/>
                  <a:gd name="T42" fmla="*/ 29 w 154"/>
                  <a:gd name="T43" fmla="*/ 21 h 113"/>
                  <a:gd name="T44" fmla="*/ 41 w 154"/>
                  <a:gd name="T45" fmla="*/ 21 h 113"/>
                  <a:gd name="T46" fmla="*/ 44 w 154"/>
                  <a:gd name="T47" fmla="*/ 19 h 113"/>
                  <a:gd name="T48" fmla="*/ 44 w 154"/>
                  <a:gd name="T49" fmla="*/ 20 h 113"/>
                  <a:gd name="T50" fmla="*/ 42 w 154"/>
                  <a:gd name="T51" fmla="*/ 23 h 113"/>
                  <a:gd name="T52" fmla="*/ 48 w 154"/>
                  <a:gd name="T53" fmla="*/ 32 h 113"/>
                  <a:gd name="T54" fmla="*/ 47 w 154"/>
                  <a:gd name="T55" fmla="*/ 6 h 113"/>
                  <a:gd name="T56" fmla="*/ 56 w 154"/>
                  <a:gd name="T57" fmla="*/ 3 h 113"/>
                  <a:gd name="T58" fmla="*/ 137 w 154"/>
                  <a:gd name="T59" fmla="*/ 24 h 113"/>
                  <a:gd name="T60" fmla="*/ 154 w 154"/>
                  <a:gd name="T61" fmla="*/ 28 h 113"/>
                  <a:gd name="T62" fmla="*/ 151 w 154"/>
                  <a:gd name="T63" fmla="*/ 38 h 113"/>
                  <a:gd name="T64" fmla="*/ 137 w 154"/>
                  <a:gd name="T65" fmla="*/ 106 h 113"/>
                  <a:gd name="T66" fmla="*/ 116 w 154"/>
                  <a:gd name="T67" fmla="*/ 10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13">
                    <a:moveTo>
                      <a:pt x="116" y="107"/>
                    </a:moveTo>
                    <a:cubicBezTo>
                      <a:pt x="105" y="104"/>
                      <a:pt x="98" y="103"/>
                      <a:pt x="91" y="103"/>
                    </a:cubicBezTo>
                    <a:cubicBezTo>
                      <a:pt x="85" y="103"/>
                      <a:pt x="80" y="103"/>
                      <a:pt x="79" y="103"/>
                    </a:cubicBezTo>
                    <a:cubicBezTo>
                      <a:pt x="79" y="102"/>
                      <a:pt x="77" y="102"/>
                      <a:pt x="74" y="103"/>
                    </a:cubicBezTo>
                    <a:cubicBezTo>
                      <a:pt x="72" y="104"/>
                      <a:pt x="68" y="104"/>
                      <a:pt x="66" y="103"/>
                    </a:cubicBezTo>
                    <a:cubicBezTo>
                      <a:pt x="64" y="103"/>
                      <a:pt x="61" y="102"/>
                      <a:pt x="59" y="102"/>
                    </a:cubicBezTo>
                    <a:cubicBezTo>
                      <a:pt x="57" y="102"/>
                      <a:pt x="52" y="100"/>
                      <a:pt x="47" y="99"/>
                    </a:cubicBezTo>
                    <a:cubicBezTo>
                      <a:pt x="42" y="97"/>
                      <a:pt x="37" y="96"/>
                      <a:pt x="33" y="97"/>
                    </a:cubicBezTo>
                    <a:cubicBezTo>
                      <a:pt x="26" y="98"/>
                      <a:pt x="21" y="94"/>
                      <a:pt x="22" y="88"/>
                    </a:cubicBezTo>
                    <a:cubicBezTo>
                      <a:pt x="23" y="83"/>
                      <a:pt x="20" y="75"/>
                      <a:pt x="17" y="75"/>
                    </a:cubicBezTo>
                    <a:cubicBezTo>
                      <a:pt x="15" y="75"/>
                      <a:pt x="14" y="74"/>
                      <a:pt x="13" y="73"/>
                    </a:cubicBezTo>
                    <a:cubicBezTo>
                      <a:pt x="12" y="72"/>
                      <a:pt x="9" y="71"/>
                      <a:pt x="7" y="70"/>
                    </a:cubicBezTo>
                    <a:cubicBezTo>
                      <a:pt x="4" y="70"/>
                      <a:pt x="2" y="70"/>
                      <a:pt x="1" y="69"/>
                    </a:cubicBezTo>
                    <a:cubicBezTo>
                      <a:pt x="0" y="66"/>
                      <a:pt x="0" y="64"/>
                      <a:pt x="2" y="64"/>
                    </a:cubicBezTo>
                    <a:cubicBezTo>
                      <a:pt x="5" y="64"/>
                      <a:pt x="7" y="59"/>
                      <a:pt x="5" y="57"/>
                    </a:cubicBezTo>
                    <a:cubicBezTo>
                      <a:pt x="2" y="54"/>
                      <a:pt x="4" y="51"/>
                      <a:pt x="7" y="51"/>
                    </a:cubicBezTo>
                    <a:cubicBezTo>
                      <a:pt x="9" y="51"/>
                      <a:pt x="9" y="50"/>
                      <a:pt x="7" y="48"/>
                    </a:cubicBezTo>
                    <a:cubicBezTo>
                      <a:pt x="5" y="45"/>
                      <a:pt x="4" y="43"/>
                      <a:pt x="4" y="34"/>
                    </a:cubicBezTo>
                    <a:cubicBezTo>
                      <a:pt x="5" y="29"/>
                      <a:pt x="4" y="23"/>
                      <a:pt x="3" y="21"/>
                    </a:cubicBezTo>
                    <a:cubicBezTo>
                      <a:pt x="2" y="19"/>
                      <a:pt x="4" y="7"/>
                      <a:pt x="6" y="7"/>
                    </a:cubicBezTo>
                    <a:cubicBezTo>
                      <a:pt x="7" y="7"/>
                      <a:pt x="9" y="9"/>
                      <a:pt x="11" y="11"/>
                    </a:cubicBezTo>
                    <a:cubicBezTo>
                      <a:pt x="15" y="15"/>
                      <a:pt x="19" y="18"/>
                      <a:pt x="29" y="21"/>
                    </a:cubicBezTo>
                    <a:cubicBezTo>
                      <a:pt x="38" y="24"/>
                      <a:pt x="41" y="24"/>
                      <a:pt x="41" y="21"/>
                    </a:cubicBezTo>
                    <a:cubicBezTo>
                      <a:pt x="41" y="20"/>
                      <a:pt x="42" y="19"/>
                      <a:pt x="44" y="19"/>
                    </a:cubicBezTo>
                    <a:cubicBezTo>
                      <a:pt x="45" y="19"/>
                      <a:pt x="45" y="19"/>
                      <a:pt x="44" y="20"/>
                    </a:cubicBezTo>
                    <a:cubicBezTo>
                      <a:pt x="43" y="20"/>
                      <a:pt x="42" y="21"/>
                      <a:pt x="42" y="23"/>
                    </a:cubicBezTo>
                    <a:cubicBezTo>
                      <a:pt x="42" y="25"/>
                      <a:pt x="47" y="32"/>
                      <a:pt x="48" y="32"/>
                    </a:cubicBezTo>
                    <a:cubicBezTo>
                      <a:pt x="50" y="32"/>
                      <a:pt x="49" y="9"/>
                      <a:pt x="47" y="6"/>
                    </a:cubicBezTo>
                    <a:cubicBezTo>
                      <a:pt x="44" y="1"/>
                      <a:pt x="46" y="0"/>
                      <a:pt x="56" y="3"/>
                    </a:cubicBezTo>
                    <a:cubicBezTo>
                      <a:pt x="72" y="8"/>
                      <a:pt x="120" y="20"/>
                      <a:pt x="137" y="24"/>
                    </a:cubicBezTo>
                    <a:cubicBezTo>
                      <a:pt x="146" y="26"/>
                      <a:pt x="153" y="28"/>
                      <a:pt x="154" y="28"/>
                    </a:cubicBezTo>
                    <a:cubicBezTo>
                      <a:pt x="154" y="28"/>
                      <a:pt x="153" y="33"/>
                      <a:pt x="151" y="38"/>
                    </a:cubicBezTo>
                    <a:cubicBezTo>
                      <a:pt x="147" y="51"/>
                      <a:pt x="137" y="100"/>
                      <a:pt x="137" y="106"/>
                    </a:cubicBezTo>
                    <a:cubicBezTo>
                      <a:pt x="137" y="113"/>
                      <a:pt x="137" y="113"/>
                      <a:pt x="116" y="107"/>
                    </a:cubicBez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5" name="Freeform 61">
                <a:extLst/>
              </p:cNvPr>
              <p:cNvSpPr>
                <a:spLocks noEditPoints="1"/>
              </p:cNvSpPr>
              <p:nvPr/>
            </p:nvSpPr>
            <p:spPr bwMode="auto">
              <a:xfrm>
                <a:off x="1181100" y="9525"/>
                <a:ext cx="1347788" cy="989013"/>
              </a:xfrm>
              <a:custGeom>
                <a:avLst/>
                <a:gdLst>
                  <a:gd name="T0" fmla="*/ 53 w 154"/>
                  <a:gd name="T1" fmla="*/ 2 h 113"/>
                  <a:gd name="T2" fmla="*/ 77 w 154"/>
                  <a:gd name="T3" fmla="*/ 8 h 113"/>
                  <a:gd name="T4" fmla="*/ 134 w 154"/>
                  <a:gd name="T5" fmla="*/ 23 h 113"/>
                  <a:gd name="T6" fmla="*/ 153 w 154"/>
                  <a:gd name="T7" fmla="*/ 33 h 113"/>
                  <a:gd name="T8" fmla="*/ 142 w 154"/>
                  <a:gd name="T9" fmla="*/ 79 h 113"/>
                  <a:gd name="T10" fmla="*/ 137 w 154"/>
                  <a:gd name="T11" fmla="*/ 113 h 113"/>
                  <a:gd name="T12" fmla="*/ 99 w 154"/>
                  <a:gd name="T13" fmla="*/ 103 h 113"/>
                  <a:gd name="T14" fmla="*/ 78 w 154"/>
                  <a:gd name="T15" fmla="*/ 102 h 113"/>
                  <a:gd name="T16" fmla="*/ 66 w 154"/>
                  <a:gd name="T17" fmla="*/ 104 h 113"/>
                  <a:gd name="T18" fmla="*/ 60 w 154"/>
                  <a:gd name="T19" fmla="*/ 103 h 113"/>
                  <a:gd name="T20" fmla="*/ 52 w 154"/>
                  <a:gd name="T21" fmla="*/ 100 h 113"/>
                  <a:gd name="T22" fmla="*/ 44 w 154"/>
                  <a:gd name="T23" fmla="*/ 98 h 113"/>
                  <a:gd name="T24" fmla="*/ 35 w 154"/>
                  <a:gd name="T25" fmla="*/ 98 h 113"/>
                  <a:gd name="T26" fmla="*/ 21 w 154"/>
                  <a:gd name="T27" fmla="*/ 93 h 113"/>
                  <a:gd name="T28" fmla="*/ 21 w 154"/>
                  <a:gd name="T29" fmla="*/ 81 h 113"/>
                  <a:gd name="T30" fmla="*/ 13 w 154"/>
                  <a:gd name="T31" fmla="*/ 75 h 113"/>
                  <a:gd name="T32" fmla="*/ 9 w 154"/>
                  <a:gd name="T33" fmla="*/ 71 h 113"/>
                  <a:gd name="T34" fmla="*/ 3 w 154"/>
                  <a:gd name="T35" fmla="*/ 71 h 113"/>
                  <a:gd name="T36" fmla="*/ 0 w 154"/>
                  <a:gd name="T37" fmla="*/ 64 h 113"/>
                  <a:gd name="T38" fmla="*/ 6 w 154"/>
                  <a:gd name="T39" fmla="*/ 58 h 113"/>
                  <a:gd name="T40" fmla="*/ 3 w 154"/>
                  <a:gd name="T41" fmla="*/ 51 h 113"/>
                  <a:gd name="T42" fmla="*/ 5 w 154"/>
                  <a:gd name="T43" fmla="*/ 47 h 113"/>
                  <a:gd name="T44" fmla="*/ 4 w 154"/>
                  <a:gd name="T45" fmla="*/ 33 h 113"/>
                  <a:gd name="T46" fmla="*/ 1 w 154"/>
                  <a:gd name="T47" fmla="*/ 19 h 113"/>
                  <a:gd name="T48" fmla="*/ 7 w 154"/>
                  <a:gd name="T49" fmla="*/ 7 h 113"/>
                  <a:gd name="T50" fmla="*/ 14 w 154"/>
                  <a:gd name="T51" fmla="*/ 14 h 113"/>
                  <a:gd name="T52" fmla="*/ 25 w 154"/>
                  <a:gd name="T53" fmla="*/ 19 h 113"/>
                  <a:gd name="T54" fmla="*/ 33 w 154"/>
                  <a:gd name="T55" fmla="*/ 22 h 113"/>
                  <a:gd name="T56" fmla="*/ 40 w 154"/>
                  <a:gd name="T57" fmla="*/ 23 h 113"/>
                  <a:gd name="T58" fmla="*/ 42 w 154"/>
                  <a:gd name="T59" fmla="*/ 19 h 113"/>
                  <a:gd name="T60" fmla="*/ 45 w 154"/>
                  <a:gd name="T61" fmla="*/ 18 h 113"/>
                  <a:gd name="T62" fmla="*/ 42 w 154"/>
                  <a:gd name="T63" fmla="*/ 21 h 113"/>
                  <a:gd name="T64" fmla="*/ 44 w 154"/>
                  <a:gd name="T65" fmla="*/ 26 h 113"/>
                  <a:gd name="T66" fmla="*/ 47 w 154"/>
                  <a:gd name="T67" fmla="*/ 32 h 113"/>
                  <a:gd name="T68" fmla="*/ 49 w 154"/>
                  <a:gd name="T69" fmla="*/ 30 h 113"/>
                  <a:gd name="T70" fmla="*/ 47 w 154"/>
                  <a:gd name="T71" fmla="*/ 24 h 113"/>
                  <a:gd name="T72" fmla="*/ 47 w 154"/>
                  <a:gd name="T73" fmla="*/ 20 h 113"/>
                  <a:gd name="T74" fmla="*/ 50 w 154"/>
                  <a:gd name="T75" fmla="*/ 12 h 113"/>
                  <a:gd name="T76" fmla="*/ 45 w 154"/>
                  <a:gd name="T77" fmla="*/ 2 h 113"/>
                  <a:gd name="T78" fmla="*/ 47 w 154"/>
                  <a:gd name="T79" fmla="*/ 0 h 113"/>
                  <a:gd name="T80" fmla="*/ 37 w 154"/>
                  <a:gd name="T81" fmla="*/ 8 h 113"/>
                  <a:gd name="T82" fmla="*/ 40 w 154"/>
                  <a:gd name="T83" fmla="*/ 7 h 113"/>
                  <a:gd name="T84" fmla="*/ 44 w 154"/>
                  <a:gd name="T85" fmla="*/ 9 h 113"/>
                  <a:gd name="T86" fmla="*/ 43 w 154"/>
                  <a:gd name="T87" fmla="*/ 13 h 113"/>
                  <a:gd name="T88" fmla="*/ 40 w 154"/>
                  <a:gd name="T89" fmla="*/ 16 h 113"/>
                  <a:gd name="T90" fmla="*/ 41 w 154"/>
                  <a:gd name="T91" fmla="*/ 12 h 113"/>
                  <a:gd name="T92" fmla="*/ 38 w 154"/>
                  <a:gd name="T93" fmla="*/ 13 h 113"/>
                  <a:gd name="T94" fmla="*/ 35 w 154"/>
                  <a:gd name="T95" fmla="*/ 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113">
                    <a:moveTo>
                      <a:pt x="47" y="0"/>
                    </a:moveTo>
                    <a:cubicBezTo>
                      <a:pt x="53" y="2"/>
                      <a:pt x="53" y="2"/>
                      <a:pt x="53" y="2"/>
                    </a:cubicBezTo>
                    <a:cubicBezTo>
                      <a:pt x="66" y="5"/>
                      <a:pt x="66" y="5"/>
                      <a:pt x="66" y="5"/>
                    </a:cubicBezTo>
                    <a:cubicBezTo>
                      <a:pt x="77" y="8"/>
                      <a:pt x="77" y="8"/>
                      <a:pt x="77" y="8"/>
                    </a:cubicBezTo>
                    <a:cubicBezTo>
                      <a:pt x="104" y="16"/>
                      <a:pt x="104" y="16"/>
                      <a:pt x="104" y="16"/>
                    </a:cubicBezTo>
                    <a:cubicBezTo>
                      <a:pt x="134" y="23"/>
                      <a:pt x="134" y="23"/>
                      <a:pt x="134" y="23"/>
                    </a:cubicBezTo>
                    <a:cubicBezTo>
                      <a:pt x="154" y="28"/>
                      <a:pt x="154" y="28"/>
                      <a:pt x="154" y="28"/>
                    </a:cubicBezTo>
                    <a:cubicBezTo>
                      <a:pt x="153" y="33"/>
                      <a:pt x="153" y="33"/>
                      <a:pt x="153" y="33"/>
                    </a:cubicBezTo>
                    <a:cubicBezTo>
                      <a:pt x="148" y="51"/>
                      <a:pt x="148" y="51"/>
                      <a:pt x="148" y="51"/>
                    </a:cubicBezTo>
                    <a:cubicBezTo>
                      <a:pt x="142" y="79"/>
                      <a:pt x="142" y="79"/>
                      <a:pt x="142" y="79"/>
                    </a:cubicBezTo>
                    <a:cubicBezTo>
                      <a:pt x="138" y="100"/>
                      <a:pt x="138" y="100"/>
                      <a:pt x="138" y="100"/>
                    </a:cubicBezTo>
                    <a:cubicBezTo>
                      <a:pt x="137" y="113"/>
                      <a:pt x="137" y="113"/>
                      <a:pt x="137" y="113"/>
                    </a:cubicBezTo>
                    <a:cubicBezTo>
                      <a:pt x="119" y="108"/>
                      <a:pt x="119" y="108"/>
                      <a:pt x="119" y="108"/>
                    </a:cubicBezTo>
                    <a:cubicBezTo>
                      <a:pt x="99" y="103"/>
                      <a:pt x="99" y="103"/>
                      <a:pt x="99" y="103"/>
                    </a:cubicBezTo>
                    <a:cubicBezTo>
                      <a:pt x="80" y="104"/>
                      <a:pt x="80" y="104"/>
                      <a:pt x="80" y="104"/>
                    </a:cubicBezTo>
                    <a:cubicBezTo>
                      <a:pt x="78" y="102"/>
                      <a:pt x="78" y="102"/>
                      <a:pt x="78" y="102"/>
                    </a:cubicBezTo>
                    <a:cubicBezTo>
                      <a:pt x="71" y="105"/>
                      <a:pt x="71" y="105"/>
                      <a:pt x="71" y="105"/>
                    </a:cubicBezTo>
                    <a:cubicBezTo>
                      <a:pt x="66" y="104"/>
                      <a:pt x="66" y="104"/>
                      <a:pt x="66" y="104"/>
                    </a:cubicBezTo>
                    <a:cubicBezTo>
                      <a:pt x="62" y="102"/>
                      <a:pt x="62" y="102"/>
                      <a:pt x="62" y="102"/>
                    </a:cubicBezTo>
                    <a:cubicBezTo>
                      <a:pt x="60" y="103"/>
                      <a:pt x="60" y="103"/>
                      <a:pt x="60" y="103"/>
                    </a:cubicBezTo>
                    <a:cubicBezTo>
                      <a:pt x="55" y="102"/>
                      <a:pt x="55" y="102"/>
                      <a:pt x="55" y="102"/>
                    </a:cubicBezTo>
                    <a:cubicBezTo>
                      <a:pt x="52" y="100"/>
                      <a:pt x="52" y="100"/>
                      <a:pt x="52" y="100"/>
                    </a:cubicBezTo>
                    <a:cubicBezTo>
                      <a:pt x="46" y="98"/>
                      <a:pt x="46" y="98"/>
                      <a:pt x="46" y="98"/>
                    </a:cubicBezTo>
                    <a:cubicBezTo>
                      <a:pt x="44" y="98"/>
                      <a:pt x="44" y="98"/>
                      <a:pt x="44" y="98"/>
                    </a:cubicBezTo>
                    <a:cubicBezTo>
                      <a:pt x="37" y="96"/>
                      <a:pt x="37" y="96"/>
                      <a:pt x="37" y="96"/>
                    </a:cubicBezTo>
                    <a:cubicBezTo>
                      <a:pt x="35" y="98"/>
                      <a:pt x="35" y="98"/>
                      <a:pt x="35" y="98"/>
                    </a:cubicBezTo>
                    <a:cubicBezTo>
                      <a:pt x="27" y="98"/>
                      <a:pt x="27" y="98"/>
                      <a:pt x="27" y="98"/>
                    </a:cubicBezTo>
                    <a:cubicBezTo>
                      <a:pt x="21" y="93"/>
                      <a:pt x="21" y="93"/>
                      <a:pt x="21" y="93"/>
                    </a:cubicBezTo>
                    <a:cubicBezTo>
                      <a:pt x="21" y="92"/>
                      <a:pt x="21" y="92"/>
                      <a:pt x="21" y="92"/>
                    </a:cubicBezTo>
                    <a:cubicBezTo>
                      <a:pt x="21" y="81"/>
                      <a:pt x="21" y="81"/>
                      <a:pt x="21" y="81"/>
                    </a:cubicBezTo>
                    <a:cubicBezTo>
                      <a:pt x="18" y="76"/>
                      <a:pt x="18" y="76"/>
                      <a:pt x="18" y="76"/>
                    </a:cubicBezTo>
                    <a:cubicBezTo>
                      <a:pt x="13" y="75"/>
                      <a:pt x="13" y="75"/>
                      <a:pt x="13" y="75"/>
                    </a:cubicBezTo>
                    <a:cubicBezTo>
                      <a:pt x="12" y="72"/>
                      <a:pt x="12" y="72"/>
                      <a:pt x="12" y="72"/>
                    </a:cubicBezTo>
                    <a:cubicBezTo>
                      <a:pt x="9" y="71"/>
                      <a:pt x="9" y="71"/>
                      <a:pt x="9" y="71"/>
                    </a:cubicBezTo>
                    <a:cubicBezTo>
                      <a:pt x="5" y="70"/>
                      <a:pt x="5" y="70"/>
                      <a:pt x="5" y="70"/>
                    </a:cubicBezTo>
                    <a:cubicBezTo>
                      <a:pt x="3" y="71"/>
                      <a:pt x="3" y="71"/>
                      <a:pt x="3" y="71"/>
                    </a:cubicBezTo>
                    <a:cubicBezTo>
                      <a:pt x="0" y="67"/>
                      <a:pt x="0" y="67"/>
                      <a:pt x="0" y="67"/>
                    </a:cubicBezTo>
                    <a:cubicBezTo>
                      <a:pt x="0" y="64"/>
                      <a:pt x="0" y="64"/>
                      <a:pt x="0" y="64"/>
                    </a:cubicBezTo>
                    <a:cubicBezTo>
                      <a:pt x="4" y="63"/>
                      <a:pt x="4" y="63"/>
                      <a:pt x="4" y="63"/>
                    </a:cubicBezTo>
                    <a:cubicBezTo>
                      <a:pt x="6" y="58"/>
                      <a:pt x="6" y="58"/>
                      <a:pt x="6" y="58"/>
                    </a:cubicBezTo>
                    <a:cubicBezTo>
                      <a:pt x="3" y="56"/>
                      <a:pt x="3" y="56"/>
                      <a:pt x="3" y="56"/>
                    </a:cubicBezTo>
                    <a:cubicBezTo>
                      <a:pt x="3" y="51"/>
                      <a:pt x="3" y="51"/>
                      <a:pt x="3" y="51"/>
                    </a:cubicBezTo>
                    <a:cubicBezTo>
                      <a:pt x="9" y="50"/>
                      <a:pt x="9" y="50"/>
                      <a:pt x="9" y="50"/>
                    </a:cubicBezTo>
                    <a:cubicBezTo>
                      <a:pt x="5" y="47"/>
                      <a:pt x="5" y="47"/>
                      <a:pt x="5" y="47"/>
                    </a:cubicBezTo>
                    <a:cubicBezTo>
                      <a:pt x="3" y="37"/>
                      <a:pt x="3" y="37"/>
                      <a:pt x="3" y="37"/>
                    </a:cubicBezTo>
                    <a:cubicBezTo>
                      <a:pt x="4" y="33"/>
                      <a:pt x="4" y="33"/>
                      <a:pt x="4" y="33"/>
                    </a:cubicBezTo>
                    <a:cubicBezTo>
                      <a:pt x="4" y="23"/>
                      <a:pt x="4" y="23"/>
                      <a:pt x="4" y="23"/>
                    </a:cubicBezTo>
                    <a:cubicBezTo>
                      <a:pt x="1" y="19"/>
                      <a:pt x="1" y="19"/>
                      <a:pt x="1" y="19"/>
                    </a:cubicBezTo>
                    <a:cubicBezTo>
                      <a:pt x="5" y="6"/>
                      <a:pt x="5" y="6"/>
                      <a:pt x="5" y="6"/>
                    </a:cubicBezTo>
                    <a:cubicBezTo>
                      <a:pt x="7" y="7"/>
                      <a:pt x="7" y="7"/>
                      <a:pt x="7" y="7"/>
                    </a:cubicBezTo>
                    <a:cubicBezTo>
                      <a:pt x="11" y="11"/>
                      <a:pt x="11" y="11"/>
                      <a:pt x="11" y="11"/>
                    </a:cubicBezTo>
                    <a:cubicBezTo>
                      <a:pt x="14" y="14"/>
                      <a:pt x="14" y="14"/>
                      <a:pt x="14" y="14"/>
                    </a:cubicBezTo>
                    <a:cubicBezTo>
                      <a:pt x="19" y="17"/>
                      <a:pt x="19" y="17"/>
                      <a:pt x="19" y="17"/>
                    </a:cubicBezTo>
                    <a:cubicBezTo>
                      <a:pt x="25" y="19"/>
                      <a:pt x="25" y="19"/>
                      <a:pt x="25" y="19"/>
                    </a:cubicBezTo>
                    <a:cubicBezTo>
                      <a:pt x="29" y="20"/>
                      <a:pt x="29" y="20"/>
                      <a:pt x="29" y="20"/>
                    </a:cubicBezTo>
                    <a:cubicBezTo>
                      <a:pt x="33" y="22"/>
                      <a:pt x="33" y="22"/>
                      <a:pt x="33" y="22"/>
                    </a:cubicBezTo>
                    <a:cubicBezTo>
                      <a:pt x="37" y="24"/>
                      <a:pt x="37" y="24"/>
                      <a:pt x="37" y="24"/>
                    </a:cubicBezTo>
                    <a:cubicBezTo>
                      <a:pt x="40" y="23"/>
                      <a:pt x="40" y="23"/>
                      <a:pt x="40" y="23"/>
                    </a:cubicBezTo>
                    <a:cubicBezTo>
                      <a:pt x="40" y="20"/>
                      <a:pt x="40" y="20"/>
                      <a:pt x="40" y="20"/>
                    </a:cubicBezTo>
                    <a:cubicBezTo>
                      <a:pt x="42" y="19"/>
                      <a:pt x="42" y="19"/>
                      <a:pt x="42" y="19"/>
                    </a:cubicBezTo>
                    <a:cubicBezTo>
                      <a:pt x="45" y="17"/>
                      <a:pt x="45" y="17"/>
                      <a:pt x="45" y="17"/>
                    </a:cubicBezTo>
                    <a:cubicBezTo>
                      <a:pt x="45" y="18"/>
                      <a:pt x="45" y="18"/>
                      <a:pt x="45" y="18"/>
                    </a:cubicBezTo>
                    <a:cubicBezTo>
                      <a:pt x="45" y="21"/>
                      <a:pt x="45" y="21"/>
                      <a:pt x="45" y="21"/>
                    </a:cubicBezTo>
                    <a:cubicBezTo>
                      <a:pt x="42" y="21"/>
                      <a:pt x="42" y="21"/>
                      <a:pt x="42" y="21"/>
                    </a:cubicBezTo>
                    <a:cubicBezTo>
                      <a:pt x="42" y="24"/>
                      <a:pt x="42" y="24"/>
                      <a:pt x="42" y="24"/>
                    </a:cubicBezTo>
                    <a:cubicBezTo>
                      <a:pt x="44" y="26"/>
                      <a:pt x="44" y="26"/>
                      <a:pt x="44" y="26"/>
                    </a:cubicBezTo>
                    <a:cubicBezTo>
                      <a:pt x="46" y="29"/>
                      <a:pt x="46" y="29"/>
                      <a:pt x="46" y="29"/>
                    </a:cubicBezTo>
                    <a:cubicBezTo>
                      <a:pt x="47" y="32"/>
                      <a:pt x="47" y="32"/>
                      <a:pt x="47" y="32"/>
                    </a:cubicBezTo>
                    <a:cubicBezTo>
                      <a:pt x="49" y="32"/>
                      <a:pt x="49" y="32"/>
                      <a:pt x="49" y="32"/>
                    </a:cubicBezTo>
                    <a:cubicBezTo>
                      <a:pt x="49" y="30"/>
                      <a:pt x="49" y="30"/>
                      <a:pt x="49" y="30"/>
                    </a:cubicBezTo>
                    <a:cubicBezTo>
                      <a:pt x="48" y="28"/>
                      <a:pt x="48" y="28"/>
                      <a:pt x="48" y="28"/>
                    </a:cubicBezTo>
                    <a:cubicBezTo>
                      <a:pt x="47" y="24"/>
                      <a:pt x="47" y="24"/>
                      <a:pt x="47" y="24"/>
                    </a:cubicBezTo>
                    <a:cubicBezTo>
                      <a:pt x="48" y="22"/>
                      <a:pt x="48" y="22"/>
                      <a:pt x="48" y="22"/>
                    </a:cubicBezTo>
                    <a:cubicBezTo>
                      <a:pt x="47" y="20"/>
                      <a:pt x="47" y="20"/>
                      <a:pt x="47" y="20"/>
                    </a:cubicBezTo>
                    <a:cubicBezTo>
                      <a:pt x="47" y="17"/>
                      <a:pt x="47" y="17"/>
                      <a:pt x="47" y="17"/>
                    </a:cubicBezTo>
                    <a:cubicBezTo>
                      <a:pt x="50" y="12"/>
                      <a:pt x="50" y="12"/>
                      <a:pt x="50" y="12"/>
                    </a:cubicBezTo>
                    <a:cubicBezTo>
                      <a:pt x="48" y="8"/>
                      <a:pt x="48" y="8"/>
                      <a:pt x="48" y="8"/>
                    </a:cubicBezTo>
                    <a:cubicBezTo>
                      <a:pt x="45" y="2"/>
                      <a:pt x="45" y="2"/>
                      <a:pt x="45" y="2"/>
                    </a:cubicBezTo>
                    <a:cubicBezTo>
                      <a:pt x="45" y="1"/>
                      <a:pt x="45" y="1"/>
                      <a:pt x="45" y="1"/>
                    </a:cubicBezTo>
                    <a:lnTo>
                      <a:pt x="47" y="0"/>
                    </a:lnTo>
                    <a:close/>
                    <a:moveTo>
                      <a:pt x="34" y="8"/>
                    </a:moveTo>
                    <a:cubicBezTo>
                      <a:pt x="37" y="8"/>
                      <a:pt x="37" y="8"/>
                      <a:pt x="37" y="8"/>
                    </a:cubicBezTo>
                    <a:cubicBezTo>
                      <a:pt x="37" y="9"/>
                      <a:pt x="37" y="9"/>
                      <a:pt x="37" y="9"/>
                    </a:cubicBezTo>
                    <a:cubicBezTo>
                      <a:pt x="40" y="7"/>
                      <a:pt x="40" y="7"/>
                      <a:pt x="40" y="7"/>
                    </a:cubicBezTo>
                    <a:cubicBezTo>
                      <a:pt x="43" y="7"/>
                      <a:pt x="43" y="7"/>
                      <a:pt x="43" y="7"/>
                    </a:cubicBezTo>
                    <a:cubicBezTo>
                      <a:pt x="44" y="9"/>
                      <a:pt x="44" y="9"/>
                      <a:pt x="44" y="9"/>
                    </a:cubicBezTo>
                    <a:cubicBezTo>
                      <a:pt x="42" y="12"/>
                      <a:pt x="42" y="12"/>
                      <a:pt x="42" y="12"/>
                    </a:cubicBezTo>
                    <a:cubicBezTo>
                      <a:pt x="43" y="13"/>
                      <a:pt x="43" y="13"/>
                      <a:pt x="43" y="13"/>
                    </a:cubicBezTo>
                    <a:cubicBezTo>
                      <a:pt x="42" y="15"/>
                      <a:pt x="42" y="15"/>
                      <a:pt x="42" y="15"/>
                    </a:cubicBezTo>
                    <a:cubicBezTo>
                      <a:pt x="40" y="16"/>
                      <a:pt x="40" y="16"/>
                      <a:pt x="40" y="16"/>
                    </a:cubicBezTo>
                    <a:cubicBezTo>
                      <a:pt x="40" y="16"/>
                      <a:pt x="39" y="16"/>
                      <a:pt x="39" y="16"/>
                    </a:cubicBezTo>
                    <a:cubicBezTo>
                      <a:pt x="39" y="15"/>
                      <a:pt x="41" y="12"/>
                      <a:pt x="41" y="12"/>
                    </a:cubicBezTo>
                    <a:cubicBezTo>
                      <a:pt x="38" y="11"/>
                      <a:pt x="38" y="11"/>
                      <a:pt x="38" y="11"/>
                    </a:cubicBezTo>
                    <a:cubicBezTo>
                      <a:pt x="38" y="13"/>
                      <a:pt x="38" y="13"/>
                      <a:pt x="38" y="13"/>
                    </a:cubicBezTo>
                    <a:cubicBezTo>
                      <a:pt x="37" y="14"/>
                      <a:pt x="37" y="14"/>
                      <a:pt x="37" y="14"/>
                    </a:cubicBezTo>
                    <a:cubicBezTo>
                      <a:pt x="35" y="11"/>
                      <a:pt x="35" y="11"/>
                      <a:pt x="35" y="11"/>
                    </a:cubicBezTo>
                    <a:lnTo>
                      <a:pt x="34" y="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grpSp>
        <p:grpSp>
          <p:nvGrpSpPr>
            <p:cNvPr id="105" name="Group 104"/>
            <p:cNvGrpSpPr/>
            <p:nvPr/>
          </p:nvGrpSpPr>
          <p:grpSpPr>
            <a:xfrm>
              <a:off x="2107888" y="2491909"/>
              <a:ext cx="4226828" cy="3650626"/>
              <a:chOff x="2107888" y="2491909"/>
              <a:chExt cx="4226828" cy="3650626"/>
            </a:xfrm>
          </p:grpSpPr>
          <p:sp>
            <p:nvSpPr>
              <p:cNvPr id="106" name="TextBox 105"/>
              <p:cNvSpPr txBox="1"/>
              <p:nvPr/>
            </p:nvSpPr>
            <p:spPr>
              <a:xfrm>
                <a:off x="5089165" y="527957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FL</a:t>
                </a:r>
              </a:p>
            </p:txBody>
          </p:sp>
          <p:sp>
            <p:nvSpPr>
              <p:cNvPr id="107" name="TextBox 106"/>
              <p:cNvSpPr txBox="1"/>
              <p:nvPr/>
            </p:nvSpPr>
            <p:spPr>
              <a:xfrm>
                <a:off x="4790575" y="4604757"/>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GA</a:t>
                </a:r>
              </a:p>
            </p:txBody>
          </p:sp>
          <p:sp>
            <p:nvSpPr>
              <p:cNvPr id="108" name="TextBox 107"/>
              <p:cNvSpPr txBox="1"/>
              <p:nvPr/>
            </p:nvSpPr>
            <p:spPr>
              <a:xfrm>
                <a:off x="5038143" y="435987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SC</a:t>
                </a:r>
              </a:p>
            </p:txBody>
          </p:sp>
          <p:sp>
            <p:nvSpPr>
              <p:cNvPr id="109" name="TextBox 108"/>
              <p:cNvSpPr txBox="1"/>
              <p:nvPr/>
            </p:nvSpPr>
            <p:spPr>
              <a:xfrm>
                <a:off x="4378092" y="462672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AL</a:t>
                </a:r>
              </a:p>
            </p:txBody>
          </p:sp>
          <p:sp>
            <p:nvSpPr>
              <p:cNvPr id="110" name="TextBox 109"/>
              <p:cNvSpPr txBox="1"/>
              <p:nvPr/>
            </p:nvSpPr>
            <p:spPr>
              <a:xfrm>
                <a:off x="5215927" y="4027401"/>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C</a:t>
                </a:r>
              </a:p>
            </p:txBody>
          </p:sp>
          <p:sp>
            <p:nvSpPr>
              <p:cNvPr id="111" name="TextBox 110"/>
              <p:cNvSpPr txBox="1"/>
              <p:nvPr/>
            </p:nvSpPr>
            <p:spPr>
              <a:xfrm>
                <a:off x="5244700" y="372120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VA</a:t>
                </a:r>
              </a:p>
            </p:txBody>
          </p:sp>
          <p:sp>
            <p:nvSpPr>
              <p:cNvPr id="112" name="TextBox 111"/>
              <p:cNvSpPr txBox="1"/>
              <p:nvPr/>
            </p:nvSpPr>
            <p:spPr>
              <a:xfrm>
                <a:off x="5214807" y="317174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PA</a:t>
                </a:r>
              </a:p>
            </p:txBody>
          </p:sp>
          <p:sp>
            <p:nvSpPr>
              <p:cNvPr id="113" name="TextBox 112"/>
              <p:cNvSpPr txBox="1"/>
              <p:nvPr/>
            </p:nvSpPr>
            <p:spPr>
              <a:xfrm>
                <a:off x="5418543" y="277785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Y</a:t>
                </a:r>
              </a:p>
            </p:txBody>
          </p:sp>
          <p:sp>
            <p:nvSpPr>
              <p:cNvPr id="114" name="TextBox 113"/>
              <p:cNvSpPr txBox="1"/>
              <p:nvPr/>
            </p:nvSpPr>
            <p:spPr>
              <a:xfrm>
                <a:off x="5757817" y="2656022"/>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NH</a:t>
                </a:r>
              </a:p>
            </p:txBody>
          </p:sp>
          <p:sp>
            <p:nvSpPr>
              <p:cNvPr id="115" name="TextBox 114"/>
              <p:cNvSpPr txBox="1"/>
              <p:nvPr/>
            </p:nvSpPr>
            <p:spPr>
              <a:xfrm>
                <a:off x="5752383" y="2812277"/>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MA</a:t>
                </a:r>
              </a:p>
            </p:txBody>
          </p:sp>
          <p:sp>
            <p:nvSpPr>
              <p:cNvPr id="116" name="TextBox 115"/>
              <p:cNvSpPr txBox="1"/>
              <p:nvPr/>
            </p:nvSpPr>
            <p:spPr>
              <a:xfrm>
                <a:off x="3409241" y="249190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N</a:t>
                </a:r>
              </a:p>
            </p:txBody>
          </p:sp>
          <p:sp>
            <p:nvSpPr>
              <p:cNvPr id="117" name="TextBox 116"/>
              <p:cNvSpPr txBox="1"/>
              <p:nvPr/>
            </p:nvSpPr>
            <p:spPr>
              <a:xfrm>
                <a:off x="3483783" y="316861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A</a:t>
                </a:r>
              </a:p>
            </p:txBody>
          </p:sp>
          <p:sp>
            <p:nvSpPr>
              <p:cNvPr id="118" name="TextBox 117"/>
              <p:cNvSpPr txBox="1"/>
              <p:nvPr/>
            </p:nvSpPr>
            <p:spPr>
              <a:xfrm>
                <a:off x="3981685"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L</a:t>
                </a:r>
              </a:p>
            </p:txBody>
          </p:sp>
          <p:sp>
            <p:nvSpPr>
              <p:cNvPr id="119" name="TextBox 118"/>
              <p:cNvSpPr txBox="1"/>
              <p:nvPr/>
            </p:nvSpPr>
            <p:spPr>
              <a:xfrm>
                <a:off x="4313900"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N</a:t>
                </a:r>
              </a:p>
            </p:txBody>
          </p:sp>
          <p:sp>
            <p:nvSpPr>
              <p:cNvPr id="120" name="TextBox 119"/>
              <p:cNvSpPr txBox="1"/>
              <p:nvPr/>
            </p:nvSpPr>
            <p:spPr>
              <a:xfrm>
                <a:off x="4433867" y="295366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I</a:t>
                </a:r>
              </a:p>
            </p:txBody>
          </p:sp>
          <p:sp>
            <p:nvSpPr>
              <p:cNvPr id="121" name="TextBox 120"/>
              <p:cNvSpPr txBox="1"/>
              <p:nvPr/>
            </p:nvSpPr>
            <p:spPr>
              <a:xfrm>
                <a:off x="2107888" y="5988647"/>
                <a:ext cx="274320" cy="153888"/>
              </a:xfrm>
              <a:prstGeom prst="rect">
                <a:avLst/>
              </a:prstGeom>
              <a:noFill/>
            </p:spPr>
            <p:txBody>
              <a:bodyPr wrap="square" lIns="0" tIns="0" rIns="0" bIns="0" rtlCol="0" anchor="ctr" anchorCtr="0">
                <a:spAutoFit/>
              </a:bodyPr>
              <a:lstStyle/>
              <a:p>
                <a:pPr algn="ctr"/>
                <a:r>
                  <a:rPr lang="en-US" sz="750" b="1" dirty="0"/>
                  <a:t>HI</a:t>
                </a:r>
              </a:p>
            </p:txBody>
          </p:sp>
          <p:sp>
            <p:nvSpPr>
              <p:cNvPr id="122" name="TextBox 121"/>
              <p:cNvSpPr txBox="1"/>
              <p:nvPr/>
            </p:nvSpPr>
            <p:spPr>
              <a:xfrm>
                <a:off x="6060396" y="3268677"/>
                <a:ext cx="274320" cy="153888"/>
              </a:xfrm>
              <a:prstGeom prst="rect">
                <a:avLst/>
              </a:prstGeom>
              <a:noFill/>
            </p:spPr>
            <p:txBody>
              <a:bodyPr wrap="square" lIns="0" tIns="0" rIns="0" bIns="0" rtlCol="0" anchor="ctr" anchorCtr="0">
                <a:spAutoFit/>
              </a:bodyPr>
              <a:lstStyle/>
              <a:p>
                <a:r>
                  <a:rPr lang="en-US" sz="750" b="1" dirty="0"/>
                  <a:t>NJ</a:t>
                </a:r>
              </a:p>
            </p:txBody>
          </p:sp>
          <p:cxnSp>
            <p:nvCxnSpPr>
              <p:cNvPr id="123" name="Straight Connector 122"/>
              <p:cNvCxnSpPr/>
              <p:nvPr/>
            </p:nvCxnSpPr>
            <p:spPr>
              <a:xfrm>
                <a:off x="5485722" y="3469892"/>
                <a:ext cx="462754" cy="221101"/>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6060396" y="3626761"/>
                <a:ext cx="274320" cy="153888"/>
              </a:xfrm>
              <a:prstGeom prst="rect">
                <a:avLst/>
              </a:prstGeom>
              <a:noFill/>
            </p:spPr>
            <p:txBody>
              <a:bodyPr wrap="square" lIns="0" tIns="0" rIns="0" bIns="0" rtlCol="0" anchor="ctr" anchorCtr="0">
                <a:spAutoFit/>
              </a:bodyPr>
              <a:lstStyle/>
              <a:p>
                <a:r>
                  <a:rPr lang="en-US" sz="750" b="1" dirty="0"/>
                  <a:t>MD</a:t>
                </a:r>
              </a:p>
            </p:txBody>
          </p:sp>
          <p:cxnSp>
            <p:nvCxnSpPr>
              <p:cNvPr id="126" name="Straight Connector 125"/>
              <p:cNvCxnSpPr/>
              <p:nvPr/>
            </p:nvCxnSpPr>
            <p:spPr>
              <a:xfrm>
                <a:off x="5720430" y="3309374"/>
                <a:ext cx="228046" cy="32605"/>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6060396" y="3448519"/>
                <a:ext cx="274320" cy="153888"/>
              </a:xfrm>
              <a:prstGeom prst="rect">
                <a:avLst/>
              </a:prstGeom>
              <a:noFill/>
            </p:spPr>
            <p:txBody>
              <a:bodyPr wrap="square" lIns="0" tIns="0" rIns="0" bIns="0" rtlCol="0" anchor="ctr" anchorCtr="0">
                <a:spAutoFit/>
              </a:bodyPr>
              <a:lstStyle/>
              <a:p>
                <a:r>
                  <a:rPr lang="en-US" sz="750" b="1" dirty="0"/>
                  <a:t>DE</a:t>
                </a:r>
              </a:p>
            </p:txBody>
          </p:sp>
          <p:cxnSp>
            <p:nvCxnSpPr>
              <p:cNvPr id="128" name="Straight Connector 127"/>
              <p:cNvCxnSpPr/>
              <p:nvPr/>
            </p:nvCxnSpPr>
            <p:spPr>
              <a:xfrm>
                <a:off x="5691966" y="3479886"/>
                <a:ext cx="251045" cy="70290"/>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sp>
        <p:nvSpPr>
          <p:cNvPr id="186" name="TextBox 185"/>
          <p:cNvSpPr txBox="1"/>
          <p:nvPr/>
        </p:nvSpPr>
        <p:spPr>
          <a:xfrm>
            <a:off x="2932206" y="2094506"/>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spTree>
    <p:extLst>
      <p:ext uri="{BB962C8B-B14F-4D97-AF65-F5344CB8AC3E}">
        <p14:creationId xmlns:p14="http://schemas.microsoft.com/office/powerpoint/2010/main" val="97113547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4292768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626782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4448209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59477650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56015289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66582569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1484516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2805" y="0"/>
            <a:ext cx="9138390" cy="5143500"/>
          </a:xfrm>
          <a:prstGeom prst="rect">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5978129" y="2686346"/>
            <a:ext cx="685800" cy="6858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91246992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0793911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zure Data Studio Notebook</a:t>
            </a:r>
          </a:p>
          <a:p>
            <a:r>
              <a:rPr lang="en-US" dirty="0"/>
              <a:t>PowerApps</a:t>
            </a:r>
          </a:p>
          <a:p>
            <a:r>
              <a:rPr lang="en-US" dirty="0"/>
              <a:t>Microsoft Flow</a:t>
            </a:r>
          </a:p>
          <a:p>
            <a:r>
              <a:rPr lang="en-US" dirty="0"/>
              <a:t>Data Gateway</a:t>
            </a:r>
          </a:p>
          <a:p>
            <a:r>
              <a:rPr lang="en-US" dirty="0"/>
              <a:t>Cortana – Power BI</a:t>
            </a:r>
          </a:p>
          <a:p>
            <a:r>
              <a:rPr lang="en-US" dirty="0"/>
              <a:t>Publish &amp; Share – Security</a:t>
            </a:r>
          </a:p>
          <a:p>
            <a:r>
              <a:rPr lang="en-US" dirty="0"/>
              <a:t>Forms – AI Builder</a:t>
            </a:r>
          </a:p>
          <a:p>
            <a:endParaRPr lang="en-US" dirty="0"/>
          </a:p>
        </p:txBody>
      </p:sp>
    </p:spTree>
    <p:extLst>
      <p:ext uri="{BB962C8B-B14F-4D97-AF65-F5344CB8AC3E}">
        <p14:creationId xmlns:p14="http://schemas.microsoft.com/office/powerpoint/2010/main" val="270601574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3958"/>
            <a:ext cx="9144000" cy="5135585"/>
          </a:xfrm>
          <a:prstGeom prst="rect">
            <a:avLst/>
          </a:prstGeom>
        </p:spPr>
      </p:pic>
    </p:spTree>
    <p:extLst>
      <p:ext uri="{BB962C8B-B14F-4D97-AF65-F5344CB8AC3E}">
        <p14:creationId xmlns:p14="http://schemas.microsoft.com/office/powerpoint/2010/main" val="415257156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388632537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4218" y="0"/>
            <a:ext cx="9135565" cy="5143500"/>
          </a:xfrm>
          <a:prstGeom prst="rect">
            <a:avLst/>
          </a:prstGeom>
        </p:spPr>
      </p:pic>
    </p:spTree>
    <p:extLst>
      <p:ext uri="{BB962C8B-B14F-4D97-AF65-F5344CB8AC3E}">
        <p14:creationId xmlns:p14="http://schemas.microsoft.com/office/powerpoint/2010/main" val="185939671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1783330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7510"/>
            <a:ext cx="9144000" cy="5128481"/>
          </a:xfrm>
          <a:prstGeom prst="rect">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7156997" y="2381251"/>
            <a:ext cx="1945926" cy="21371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1211190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425703957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186"/>
            <a:ext cx="9144000" cy="5141129"/>
          </a:xfrm>
          <a:prstGeom prst="rect">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2276498" y="1748717"/>
            <a:ext cx="819590" cy="3153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7767365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9138390" cy="5143500"/>
          </a:xfrm>
          <a:prstGeom prst="rect">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2425822" y="1471474"/>
            <a:ext cx="1427780" cy="146482"/>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2430954" y="1617956"/>
            <a:ext cx="1417517" cy="758885"/>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2425822" y="2376840"/>
            <a:ext cx="2189041" cy="793597"/>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TextBox 18">
            <a:extLst>
              <a:ext uri="{FF2B5EF4-FFF2-40B4-BE49-F238E27FC236}">
                <a16:creationId xmlns:a16="http://schemas.microsoft.com/office/drawing/2014/main" id="{3ADB7B66-7F14-46AD-8CCA-55DCA1B47F37}"/>
              </a:ext>
            </a:extLst>
          </p:cNvPr>
          <p:cNvSpPr txBox="1"/>
          <p:nvPr/>
        </p:nvSpPr>
        <p:spPr>
          <a:xfrm>
            <a:off x="3848471" y="1870441"/>
            <a:ext cx="832279" cy="276999"/>
          </a:xfrm>
          <a:prstGeom prst="rect">
            <a:avLst/>
          </a:prstGeom>
          <a:noFill/>
        </p:spPr>
        <p:txBody>
          <a:bodyPr wrap="none" rtlCol="0">
            <a:spAutoFit/>
          </a:bodyPr>
          <a:lstStyle/>
          <a:p>
            <a:r>
              <a:rPr lang="en-US" sz="12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4614862" y="2646681"/>
            <a:ext cx="966788" cy="276999"/>
          </a:xfrm>
          <a:prstGeom prst="rect">
            <a:avLst/>
          </a:prstGeom>
          <a:noFill/>
        </p:spPr>
        <p:txBody>
          <a:bodyPr wrap="square" rtlCol="0">
            <a:spAutoFit/>
          </a:bodyPr>
          <a:lstStyle/>
          <a:p>
            <a:r>
              <a:rPr lang="en-US" sz="1200" dirty="0">
                <a:solidFill>
                  <a:srgbClr val="FF0000"/>
                </a:solidFill>
                <a:latin typeface="Segoe UI" panose="020B0502040204020203" pitchFamily="34" charset="0"/>
                <a:cs typeface="Segoe UI" panose="020B0502040204020203" pitchFamily="34" charset="0"/>
              </a:rPr>
              <a:t>Else false</a:t>
            </a:r>
            <a:endParaRPr lang="en-US" sz="12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3848471" y="1417757"/>
            <a:ext cx="746551" cy="276999"/>
          </a:xfrm>
          <a:prstGeom prst="rect">
            <a:avLst/>
          </a:prstGeom>
          <a:noFill/>
        </p:spPr>
        <p:txBody>
          <a:bodyPr wrap="none" rtlCol="0">
            <a:spAutoFit/>
          </a:bodyPr>
          <a:lstStyle/>
          <a:p>
            <a:r>
              <a:rPr lang="en-US" sz="12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2283156" y="1315930"/>
            <a:ext cx="3502865" cy="327160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3445097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1579"/>
            <a:ext cx="9144000" cy="5140343"/>
          </a:xfrm>
          <a:prstGeom prst="rect">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2689935" y="3628748"/>
            <a:ext cx="3096086" cy="7856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064421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SS 2013_SpeakerTemplate_16x9">
  <a:themeElements>
    <a:clrScheme name="PASS Color Palette">
      <a:dk1>
        <a:srgbClr val="000000"/>
      </a:dk1>
      <a:lt1>
        <a:srgbClr val="AFAFA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ASS 2013_SpeakerTemplate_16x9.potx</Template>
  <TotalTime>7301</TotalTime>
  <Words>12010</Words>
  <Application>Microsoft Office PowerPoint</Application>
  <PresentationFormat>On-screen Show (16:9)</PresentationFormat>
  <Paragraphs>1416</Paragraphs>
  <Slides>310</Slides>
  <Notes>261</Notes>
  <HiddenSlides>1</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310</vt:i4>
      </vt:variant>
    </vt:vector>
  </HeadingPairs>
  <TitlesOfParts>
    <vt:vector size="326" baseType="lpstr">
      <vt:lpstr>Arial</vt:lpstr>
      <vt:lpstr>Calibri</vt:lpstr>
      <vt:lpstr>Calibri Light</vt:lpstr>
      <vt:lpstr>Consolas</vt:lpstr>
      <vt:lpstr>DIN</vt:lpstr>
      <vt:lpstr>Gill Sans</vt:lpstr>
      <vt:lpstr>Segoe UI</vt:lpstr>
      <vt:lpstr>Segoe UI (Body)</vt:lpstr>
      <vt:lpstr>Segoe UI Light</vt:lpstr>
      <vt:lpstr>Segoe UI Semibold</vt:lpstr>
      <vt:lpstr>Segoe UI Semilight</vt:lpstr>
      <vt:lpstr>Wingdings</vt:lpstr>
      <vt:lpstr>PASS 2013_SpeakerTemplate_16x9</vt:lpstr>
      <vt:lpstr>Office Theme</vt:lpstr>
      <vt:lpstr>1_Office Theme</vt:lpstr>
      <vt:lpstr>think-cell Slide</vt:lpstr>
      <vt:lpstr>Power Platform</vt:lpstr>
      <vt:lpstr>PowerPoint Presentation</vt:lpstr>
      <vt:lpstr>PowerPoint Presentation</vt:lpstr>
      <vt:lpstr>PowerPoint Presentation</vt:lpstr>
      <vt:lpstr>PowerPoint Presentation</vt:lpstr>
      <vt:lpstr>PowerPoint Presentation</vt:lpstr>
      <vt:lpstr>PowerPoint Presentation</vt:lpstr>
      <vt:lpstr>Universal Insurance Holdings (UVE): Growth Story</vt:lpstr>
      <vt:lpstr>Agenda</vt:lpstr>
      <vt:lpstr>Agenda</vt:lpstr>
      <vt:lpstr>Intr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PowerPoint Presentation</vt:lpstr>
      <vt:lpstr>Azure Data Studio Notebook (DEMO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Apps (DEMO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Flow (DEMO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Gateway (DEMO 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rtana (DEMO 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6)</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rms – Ai builder (DEMO 7)</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LS (DEMO 7)</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rovals (DEMO 9)</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rnational Space Station (DEMO 10)</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Resources</vt:lpstr>
      <vt:lpstr>Resources</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ramFleitas_PowerPlatformGameChanger</dc:title>
  <dc:creator>hf0524@universalproperty.com</dc:creator>
  <cp:keywords>PowerApps, MS Flow, Power BI</cp:keywords>
  <cp:lastModifiedBy>Hiram Fleitas</cp:lastModifiedBy>
  <cp:revision>1358</cp:revision>
  <dcterms:created xsi:type="dcterms:W3CDTF">2013-07-12T18:23:55Z</dcterms:created>
  <dcterms:modified xsi:type="dcterms:W3CDTF">2019-11-04T17:58:48Z</dcterms:modified>
  <cp:category>Develop</cp:category>
  <cp:contentStatus/>
</cp:coreProperties>
</file>